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2.xml" ContentType="application/vnd.openxmlformats-officedocument.themeOverride+xml"/>
  <Override PartName="/ppt/notesSlides/notesSlide6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7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3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3.xml" ContentType="application/vnd.openxmlformats-officedocument.drawingml.chart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4.xml" ContentType="application/vnd.openxmlformats-officedocument.drawingml.chart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charts/chart1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charts/chart1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charts/chart1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66" r:id="rId2"/>
    <p:sldMasterId id="2147483675" r:id="rId3"/>
    <p:sldMasterId id="2147483684" r:id="rId4"/>
    <p:sldMasterId id="2147483706" r:id="rId5"/>
    <p:sldMasterId id="2147483715" r:id="rId6"/>
  </p:sldMasterIdLst>
  <p:notesMasterIdLst>
    <p:notesMasterId r:id="rId39"/>
  </p:notesMasterIdLst>
  <p:sldIdLst>
    <p:sldId id="1692" r:id="rId7"/>
    <p:sldId id="2137" r:id="rId8"/>
    <p:sldId id="2234" r:id="rId9"/>
    <p:sldId id="2241" r:id="rId10"/>
    <p:sldId id="1691" r:id="rId11"/>
    <p:sldId id="2242" r:id="rId12"/>
    <p:sldId id="2243" r:id="rId13"/>
    <p:sldId id="1675" r:id="rId14"/>
    <p:sldId id="1677" r:id="rId15"/>
    <p:sldId id="1721" r:id="rId16"/>
    <p:sldId id="2235" r:id="rId17"/>
    <p:sldId id="1722" r:id="rId18"/>
    <p:sldId id="2236" r:id="rId19"/>
    <p:sldId id="2237" r:id="rId20"/>
    <p:sldId id="2238" r:id="rId21"/>
    <p:sldId id="2239" r:id="rId22"/>
    <p:sldId id="2240" r:id="rId23"/>
    <p:sldId id="1091" r:id="rId24"/>
    <p:sldId id="2129" r:id="rId25"/>
    <p:sldId id="1479" r:id="rId26"/>
    <p:sldId id="1480" r:id="rId27"/>
    <p:sldId id="2130" r:id="rId28"/>
    <p:sldId id="2135" r:id="rId29"/>
    <p:sldId id="2136" r:id="rId30"/>
    <p:sldId id="2244" r:id="rId31"/>
    <p:sldId id="2245" r:id="rId32"/>
    <p:sldId id="2246" r:id="rId33"/>
    <p:sldId id="2138" r:id="rId34"/>
    <p:sldId id="1956" r:id="rId35"/>
    <p:sldId id="1957" r:id="rId36"/>
    <p:sldId id="1958" r:id="rId37"/>
    <p:sldId id="1959" r:id="rId38"/>
  </p:sldIdLst>
  <p:sldSz cx="12192000" cy="6858000"/>
  <p:notesSz cx="6858000" cy="9144000"/>
  <p:embeddedFontLst>
    <p:embeddedFont>
      <p:font typeface="Calibri" panose="020F0502020204030204" pitchFamily="34" charset="0"/>
      <p:regular r:id="rId40"/>
      <p:bold r:id="rId41"/>
      <p:italic r:id="rId42"/>
      <p:boldItalic r:id="rId43"/>
    </p:embeddedFont>
    <p:embeddedFont>
      <p:font typeface="Calibri Light" panose="020F0302020204030204" pitchFamily="34" charset="0"/>
      <p:regular r:id="rId44"/>
      <p:italic r:id="rId45"/>
    </p:embeddedFont>
  </p:embeddedFontLst>
  <p:custDataLst>
    <p:tags r:id="rId4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0000FF"/>
    <a:srgbClr val="000000"/>
    <a:srgbClr val="FF00FF"/>
    <a:srgbClr val="F3D9DC"/>
    <a:srgbClr val="EFCCCF"/>
    <a:srgbClr val="FFFFFF"/>
    <a:srgbClr val="F7E7E9"/>
    <a:srgbClr val="B0C2E5"/>
    <a:srgbClr val="719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21317" autoAdjust="0"/>
    <p:restoredTop sz="96327" autoAdjust="0"/>
  </p:normalViewPr>
  <p:slideViewPr>
    <p:cSldViewPr snapToGrid="0">
      <p:cViewPr varScale="1">
        <p:scale>
          <a:sx n="110" d="100"/>
          <a:sy n="110" d="100"/>
        </p:scale>
        <p:origin x="186" y="108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175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font" Target="fonts/font3.fntdata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font" Target="fonts/font1.fntdata"/><Relationship Id="rId45" Type="http://schemas.openxmlformats.org/officeDocument/2006/relationships/font" Target="fonts/font6.fntdata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font" Target="fonts/font5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font" Target="fonts/font4.fntdata"/><Relationship Id="rId48" Type="http://schemas.openxmlformats.org/officeDocument/2006/relationships/viewProps" Target="viewProps.xml"/><Relationship Id="rId8" Type="http://schemas.openxmlformats.org/officeDocument/2006/relationships/slide" Target="slides/slide2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tags" Target="tags/tag1.xml"/><Relationship Id="rId20" Type="http://schemas.openxmlformats.org/officeDocument/2006/relationships/slide" Target="slides/slide14.xml"/><Relationship Id="rId41" Type="http://schemas.openxmlformats.org/officeDocument/2006/relationships/font" Target="fonts/font2.fnt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778605280974949E-2"/>
          <c:y val="2.9171253341720396E-2"/>
          <c:w val="0.91251364292647907"/>
          <c:h val="0.90319114640666776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rocenta 2 davka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102</c:f>
              <c:numCache>
                <c:formatCode>General</c:formatCode>
                <c:ptCount val="10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  <c:pt idx="98">
                  <c:v>98</c:v>
                </c:pt>
                <c:pt idx="99">
                  <c:v>99</c:v>
                </c:pt>
                <c:pt idx="100">
                  <c:v>100</c:v>
                </c:pt>
              </c:numCache>
            </c:numRef>
          </c:cat>
          <c:val>
            <c:numRef>
              <c:f>List1!$B$2:$B$102</c:f>
              <c:numCache>
                <c:formatCode>0.000000%</c:formatCode>
                <c:ptCount val="101"/>
                <c:pt idx="0">
                  <c:v>7.2400000000000001E-6</c:v>
                </c:pt>
                <c:pt idx="1">
                  <c:v>1.9389999999999999E-5</c:v>
                </c:pt>
                <c:pt idx="2">
                  <c:v>2.637E-5</c:v>
                </c:pt>
                <c:pt idx="3">
                  <c:v>2.8439999999999999E-5</c:v>
                </c:pt>
                <c:pt idx="4">
                  <c:v>3.6189999999999997E-5</c:v>
                </c:pt>
                <c:pt idx="5">
                  <c:v>4.6529999999999997E-5</c:v>
                </c:pt>
                <c:pt idx="6">
                  <c:v>4.9379999999999998E-5</c:v>
                </c:pt>
                <c:pt idx="7">
                  <c:v>5.6100000000000002E-5</c:v>
                </c:pt>
                <c:pt idx="8">
                  <c:v>4.9889999999999998E-5</c:v>
                </c:pt>
                <c:pt idx="9">
                  <c:v>3.697E-5</c:v>
                </c:pt>
                <c:pt idx="10">
                  <c:v>2.9989999999999999E-5</c:v>
                </c:pt>
                <c:pt idx="11">
                  <c:v>3.025E-5</c:v>
                </c:pt>
                <c:pt idx="12">
                  <c:v>2.1460000000000001E-5</c:v>
                </c:pt>
                <c:pt idx="13">
                  <c:v>2.5850000000000002E-5</c:v>
                </c:pt>
                <c:pt idx="14">
                  <c:v>2.3010000000000002E-5</c:v>
                </c:pt>
                <c:pt idx="15">
                  <c:v>1.9130000000000001E-5</c:v>
                </c:pt>
                <c:pt idx="16">
                  <c:v>1.396E-5</c:v>
                </c:pt>
                <c:pt idx="17">
                  <c:v>1.0859999999999999E-5</c:v>
                </c:pt>
                <c:pt idx="18">
                  <c:v>1.6540000000000001E-5</c:v>
                </c:pt>
                <c:pt idx="19">
                  <c:v>1.396E-5</c:v>
                </c:pt>
                <c:pt idx="20">
                  <c:v>1.293E-5</c:v>
                </c:pt>
                <c:pt idx="21">
                  <c:v>1.241E-5</c:v>
                </c:pt>
                <c:pt idx="22">
                  <c:v>1.112E-5</c:v>
                </c:pt>
                <c:pt idx="23">
                  <c:v>9.0499999999999997E-6</c:v>
                </c:pt>
                <c:pt idx="24">
                  <c:v>1.137E-5</c:v>
                </c:pt>
                <c:pt idx="25">
                  <c:v>7.7600000000000002E-6</c:v>
                </c:pt>
                <c:pt idx="26">
                  <c:v>9.0499999999999997E-6</c:v>
                </c:pt>
                <c:pt idx="27">
                  <c:v>1.2670000000000001E-5</c:v>
                </c:pt>
                <c:pt idx="28">
                  <c:v>1.0859999999999999E-5</c:v>
                </c:pt>
                <c:pt idx="29">
                  <c:v>8.7900000000000005E-6</c:v>
                </c:pt>
                <c:pt idx="30">
                  <c:v>9.5699999999999999E-6</c:v>
                </c:pt>
                <c:pt idx="31">
                  <c:v>8.7900000000000005E-6</c:v>
                </c:pt>
                <c:pt idx="32">
                  <c:v>1.241E-5</c:v>
                </c:pt>
                <c:pt idx="33">
                  <c:v>1.0859999999999999E-5</c:v>
                </c:pt>
                <c:pt idx="34">
                  <c:v>8.2700000000000004E-6</c:v>
                </c:pt>
                <c:pt idx="35">
                  <c:v>9.3100000000000006E-6</c:v>
                </c:pt>
                <c:pt idx="36">
                  <c:v>9.8200000000000008E-6</c:v>
                </c:pt>
                <c:pt idx="37">
                  <c:v>9.5699999999999999E-6</c:v>
                </c:pt>
                <c:pt idx="38">
                  <c:v>5.9499999999999998E-6</c:v>
                </c:pt>
                <c:pt idx="39">
                  <c:v>1.0339999999999999E-5</c:v>
                </c:pt>
                <c:pt idx="40">
                  <c:v>8.0099999999999995E-6</c:v>
                </c:pt>
                <c:pt idx="41">
                  <c:v>1.0859999999999999E-5</c:v>
                </c:pt>
                <c:pt idx="42">
                  <c:v>1.0339999999999999E-5</c:v>
                </c:pt>
                <c:pt idx="43">
                  <c:v>8.2700000000000004E-6</c:v>
                </c:pt>
                <c:pt idx="44">
                  <c:v>8.2700000000000004E-6</c:v>
                </c:pt>
                <c:pt idx="45">
                  <c:v>7.7600000000000002E-6</c:v>
                </c:pt>
                <c:pt idx="46">
                  <c:v>7.2400000000000001E-6</c:v>
                </c:pt>
                <c:pt idx="47">
                  <c:v>5.9499999999999998E-6</c:v>
                </c:pt>
                <c:pt idx="48">
                  <c:v>9.5699999999999999E-6</c:v>
                </c:pt>
                <c:pt idx="49">
                  <c:v>7.2400000000000001E-6</c:v>
                </c:pt>
                <c:pt idx="50">
                  <c:v>4.6500000000000004E-6</c:v>
                </c:pt>
                <c:pt idx="51">
                  <c:v>5.9499999999999998E-6</c:v>
                </c:pt>
                <c:pt idx="52">
                  <c:v>5.1699999999999996E-6</c:v>
                </c:pt>
                <c:pt idx="53">
                  <c:v>3.8800000000000001E-6</c:v>
                </c:pt>
                <c:pt idx="54">
                  <c:v>6.46E-6</c:v>
                </c:pt>
                <c:pt idx="55">
                  <c:v>6.72E-6</c:v>
                </c:pt>
                <c:pt idx="56">
                  <c:v>5.4299999999999997E-6</c:v>
                </c:pt>
                <c:pt idx="57">
                  <c:v>3.6200000000000001E-6</c:v>
                </c:pt>
                <c:pt idx="58">
                  <c:v>5.4299999999999997E-6</c:v>
                </c:pt>
                <c:pt idx="59">
                  <c:v>2.8399999999999999E-6</c:v>
                </c:pt>
                <c:pt idx="60">
                  <c:v>4.3900000000000003E-6</c:v>
                </c:pt>
                <c:pt idx="61">
                  <c:v>4.9100000000000004E-6</c:v>
                </c:pt>
                <c:pt idx="62">
                  <c:v>6.46E-6</c:v>
                </c:pt>
                <c:pt idx="63">
                  <c:v>4.3900000000000003E-6</c:v>
                </c:pt>
                <c:pt idx="64">
                  <c:v>2.5900000000000002E-6</c:v>
                </c:pt>
                <c:pt idx="65">
                  <c:v>2.5900000000000002E-6</c:v>
                </c:pt>
                <c:pt idx="66">
                  <c:v>4.3900000000000003E-6</c:v>
                </c:pt>
                <c:pt idx="67">
                  <c:v>5.6899999999999997E-6</c:v>
                </c:pt>
                <c:pt idx="68">
                  <c:v>2.0700000000000001E-6</c:v>
                </c:pt>
                <c:pt idx="69">
                  <c:v>3.36E-6</c:v>
                </c:pt>
                <c:pt idx="70">
                  <c:v>4.1400000000000002E-6</c:v>
                </c:pt>
                <c:pt idx="71">
                  <c:v>4.6500000000000004E-6</c:v>
                </c:pt>
                <c:pt idx="72">
                  <c:v>3.8800000000000001E-6</c:v>
                </c:pt>
                <c:pt idx="73">
                  <c:v>1.0300000000000001E-6</c:v>
                </c:pt>
                <c:pt idx="74">
                  <c:v>2.8399999999999999E-6</c:v>
                </c:pt>
                <c:pt idx="75">
                  <c:v>3.1E-6</c:v>
                </c:pt>
                <c:pt idx="76">
                  <c:v>3.36E-6</c:v>
                </c:pt>
                <c:pt idx="77">
                  <c:v>3.1E-6</c:v>
                </c:pt>
                <c:pt idx="78">
                  <c:v>2.5900000000000002E-6</c:v>
                </c:pt>
                <c:pt idx="79">
                  <c:v>2.5900000000000002E-6</c:v>
                </c:pt>
                <c:pt idx="80">
                  <c:v>4.3900000000000003E-6</c:v>
                </c:pt>
                <c:pt idx="81">
                  <c:v>2.8399999999999999E-6</c:v>
                </c:pt>
                <c:pt idx="82">
                  <c:v>2.0700000000000001E-6</c:v>
                </c:pt>
                <c:pt idx="83">
                  <c:v>4.1400000000000002E-6</c:v>
                </c:pt>
                <c:pt idx="84">
                  <c:v>3.1E-6</c:v>
                </c:pt>
                <c:pt idx="85">
                  <c:v>2.3300000000000001E-6</c:v>
                </c:pt>
                <c:pt idx="86">
                  <c:v>2.8399999999999999E-6</c:v>
                </c:pt>
                <c:pt idx="87">
                  <c:v>1.55E-6</c:v>
                </c:pt>
                <c:pt idx="88">
                  <c:v>1.2899999999999999E-6</c:v>
                </c:pt>
                <c:pt idx="89">
                  <c:v>1.81E-6</c:v>
                </c:pt>
                <c:pt idx="90">
                  <c:v>1.55E-6</c:v>
                </c:pt>
                <c:pt idx="91">
                  <c:v>2.8399999999999999E-6</c:v>
                </c:pt>
                <c:pt idx="92">
                  <c:v>7.8000000000000005E-7</c:v>
                </c:pt>
                <c:pt idx="93">
                  <c:v>1.55E-6</c:v>
                </c:pt>
                <c:pt idx="94">
                  <c:v>2.0700000000000001E-6</c:v>
                </c:pt>
                <c:pt idx="95">
                  <c:v>1.2899999999999999E-6</c:v>
                </c:pt>
                <c:pt idx="96">
                  <c:v>1.2899999999999999E-6</c:v>
                </c:pt>
                <c:pt idx="97">
                  <c:v>1.81E-6</c:v>
                </c:pt>
                <c:pt idx="98">
                  <c:v>2.3300000000000001E-6</c:v>
                </c:pt>
                <c:pt idx="99">
                  <c:v>1.81E-6</c:v>
                </c:pt>
                <c:pt idx="100">
                  <c:v>1.2899999999999999E-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33E-438F-97EA-25821D7C792F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rocenta 1 davka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102</c:f>
              <c:numCache>
                <c:formatCode>General</c:formatCode>
                <c:ptCount val="10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  <c:pt idx="98">
                  <c:v>98</c:v>
                </c:pt>
                <c:pt idx="99">
                  <c:v>99</c:v>
                </c:pt>
                <c:pt idx="100">
                  <c:v>100</c:v>
                </c:pt>
              </c:numCache>
            </c:numRef>
          </c:cat>
          <c:val>
            <c:numRef>
              <c:f>List1!$C$2:$C$102</c:f>
              <c:numCache>
                <c:formatCode>0.000000%</c:formatCode>
                <c:ptCount val="101"/>
                <c:pt idx="0">
                  <c:v>4.0790000000000001E-5</c:v>
                </c:pt>
                <c:pt idx="1">
                  <c:v>1.1252E-4</c:v>
                </c:pt>
                <c:pt idx="2">
                  <c:v>2.0394E-4</c:v>
                </c:pt>
                <c:pt idx="3">
                  <c:v>2.8200000000000002E-4</c:v>
                </c:pt>
                <c:pt idx="4">
                  <c:v>4.2264000000000001E-4</c:v>
                </c:pt>
                <c:pt idx="5">
                  <c:v>6.0408E-4</c:v>
                </c:pt>
                <c:pt idx="6">
                  <c:v>7.5246000000000004E-4</c:v>
                </c:pt>
                <c:pt idx="7">
                  <c:v>9.0295000000000002E-4</c:v>
                </c:pt>
                <c:pt idx="8">
                  <c:v>8.8537000000000002E-4</c:v>
                </c:pt>
                <c:pt idx="9">
                  <c:v>8.3965999999999999E-4</c:v>
                </c:pt>
                <c:pt idx="10">
                  <c:v>8.0449999999999999E-4</c:v>
                </c:pt>
                <c:pt idx="11">
                  <c:v>8.7341999999999997E-4</c:v>
                </c:pt>
                <c:pt idx="12">
                  <c:v>7.7988999999999999E-4</c:v>
                </c:pt>
                <c:pt idx="13">
                  <c:v>8.1152999999999998E-4</c:v>
                </c:pt>
                <c:pt idx="14">
                  <c:v>8.2067999999999996E-4</c:v>
                </c:pt>
                <c:pt idx="15">
                  <c:v>5.9634E-4</c:v>
                </c:pt>
                <c:pt idx="16">
                  <c:v>5.3235000000000001E-4</c:v>
                </c:pt>
                <c:pt idx="17">
                  <c:v>4.7678999999999999E-4</c:v>
                </c:pt>
                <c:pt idx="18">
                  <c:v>4.5499000000000001E-4</c:v>
                </c:pt>
                <c:pt idx="19">
                  <c:v>4.8523000000000001E-4</c:v>
                </c:pt>
                <c:pt idx="20">
                  <c:v>5.2391000000000004E-4</c:v>
                </c:pt>
                <c:pt idx="21">
                  <c:v>4.1843000000000002E-4</c:v>
                </c:pt>
                <c:pt idx="22">
                  <c:v>3.0591E-4</c:v>
                </c:pt>
                <c:pt idx="23">
                  <c:v>2.4262E-4</c:v>
                </c:pt>
                <c:pt idx="24">
                  <c:v>2.2924999999999999E-4</c:v>
                </c:pt>
                <c:pt idx="25">
                  <c:v>2.1096999999999999E-4</c:v>
                </c:pt>
                <c:pt idx="26">
                  <c:v>2.3557999999999999E-4</c:v>
                </c:pt>
                <c:pt idx="27">
                  <c:v>2.0253E-4</c:v>
                </c:pt>
                <c:pt idx="28">
                  <c:v>1.9338999999999999E-4</c:v>
                </c:pt>
                <c:pt idx="29">
                  <c:v>1.3150999999999999E-4</c:v>
                </c:pt>
                <c:pt idx="30">
                  <c:v>1.0548999999999999E-4</c:v>
                </c:pt>
                <c:pt idx="31">
                  <c:v>1.1603E-4</c:v>
                </c:pt>
                <c:pt idx="32">
                  <c:v>1.1744E-4</c:v>
                </c:pt>
                <c:pt idx="33">
                  <c:v>7.8759999999999998E-5</c:v>
                </c:pt>
                <c:pt idx="34">
                  <c:v>8.509E-5</c:v>
                </c:pt>
                <c:pt idx="35">
                  <c:v>8.9309999999999997E-5</c:v>
                </c:pt>
                <c:pt idx="36">
                  <c:v>6.7509999999999996E-5</c:v>
                </c:pt>
                <c:pt idx="37">
                  <c:v>5.274E-5</c:v>
                </c:pt>
                <c:pt idx="38">
                  <c:v>4.5710000000000001E-5</c:v>
                </c:pt>
                <c:pt idx="39">
                  <c:v>5.8369999999999998E-5</c:v>
                </c:pt>
                <c:pt idx="40">
                  <c:v>5.134E-5</c:v>
                </c:pt>
                <c:pt idx="41">
                  <c:v>4.9929999999999998E-5</c:v>
                </c:pt>
                <c:pt idx="42">
                  <c:v>5.5560000000000003E-5</c:v>
                </c:pt>
                <c:pt idx="43">
                  <c:v>3.0939999999999999E-5</c:v>
                </c:pt>
                <c:pt idx="44">
                  <c:v>3.7270000000000001E-5</c:v>
                </c:pt>
                <c:pt idx="45">
                  <c:v>2.5320000000000002E-5</c:v>
                </c:pt>
                <c:pt idx="46">
                  <c:v>2.391E-5</c:v>
                </c:pt>
                <c:pt idx="47">
                  <c:v>2.6020000000000002E-5</c:v>
                </c:pt>
                <c:pt idx="48">
                  <c:v>3.0939999999999999E-5</c:v>
                </c:pt>
                <c:pt idx="49">
                  <c:v>3.3760000000000002E-5</c:v>
                </c:pt>
                <c:pt idx="50">
                  <c:v>2.6020000000000002E-5</c:v>
                </c:pt>
                <c:pt idx="51">
                  <c:v>1.7580000000000001E-5</c:v>
                </c:pt>
                <c:pt idx="52">
                  <c:v>2.2500000000000001E-5</c:v>
                </c:pt>
                <c:pt idx="53">
                  <c:v>1.1960000000000001E-5</c:v>
                </c:pt>
                <c:pt idx="54">
                  <c:v>1.5469999999999999E-5</c:v>
                </c:pt>
                <c:pt idx="55">
                  <c:v>2.321E-5</c:v>
                </c:pt>
                <c:pt idx="56">
                  <c:v>2.1100000000000001E-5</c:v>
                </c:pt>
                <c:pt idx="57">
                  <c:v>2.039E-5</c:v>
                </c:pt>
                <c:pt idx="58">
                  <c:v>3.5200000000000002E-6</c:v>
                </c:pt>
                <c:pt idx="59">
                  <c:v>1.2660000000000001E-5</c:v>
                </c:pt>
                <c:pt idx="60">
                  <c:v>1.8989999999999999E-5</c:v>
                </c:pt>
                <c:pt idx="61">
                  <c:v>1.1960000000000001E-5</c:v>
                </c:pt>
                <c:pt idx="62">
                  <c:v>1.2660000000000001E-5</c:v>
                </c:pt>
                <c:pt idx="63">
                  <c:v>1.4769999999999999E-5</c:v>
                </c:pt>
                <c:pt idx="64">
                  <c:v>1.1960000000000001E-5</c:v>
                </c:pt>
                <c:pt idx="65">
                  <c:v>1.0550000000000001E-5</c:v>
                </c:pt>
                <c:pt idx="66">
                  <c:v>8.4400000000000005E-6</c:v>
                </c:pt>
                <c:pt idx="67">
                  <c:v>9.8500000000000006E-6</c:v>
                </c:pt>
                <c:pt idx="68">
                  <c:v>7.0299999999999996E-6</c:v>
                </c:pt>
                <c:pt idx="69">
                  <c:v>7.0299999999999996E-6</c:v>
                </c:pt>
                <c:pt idx="70">
                  <c:v>1.0550000000000001E-5</c:v>
                </c:pt>
                <c:pt idx="71">
                  <c:v>4.9200000000000003E-6</c:v>
                </c:pt>
                <c:pt idx="72">
                  <c:v>4.9200000000000003E-6</c:v>
                </c:pt>
                <c:pt idx="73">
                  <c:v>3.5200000000000002E-6</c:v>
                </c:pt>
                <c:pt idx="74">
                  <c:v>3.5200000000000002E-6</c:v>
                </c:pt>
                <c:pt idx="75">
                  <c:v>4.9200000000000003E-6</c:v>
                </c:pt>
                <c:pt idx="76">
                  <c:v>5.6300000000000003E-6</c:v>
                </c:pt>
                <c:pt idx="77">
                  <c:v>2.8100000000000002E-6</c:v>
                </c:pt>
                <c:pt idx="78">
                  <c:v>4.9200000000000003E-6</c:v>
                </c:pt>
                <c:pt idx="79">
                  <c:v>3.5200000000000002E-6</c:v>
                </c:pt>
                <c:pt idx="80">
                  <c:v>3.5200000000000002E-6</c:v>
                </c:pt>
                <c:pt idx="81">
                  <c:v>4.9200000000000003E-6</c:v>
                </c:pt>
                <c:pt idx="82">
                  <c:v>3.5200000000000002E-6</c:v>
                </c:pt>
                <c:pt idx="83">
                  <c:v>3.5200000000000002E-6</c:v>
                </c:pt>
                <c:pt idx="84">
                  <c:v>8.4400000000000005E-6</c:v>
                </c:pt>
                <c:pt idx="85">
                  <c:v>2.1100000000000001E-6</c:v>
                </c:pt>
                <c:pt idx="86">
                  <c:v>1.4100000000000001E-6</c:v>
                </c:pt>
                <c:pt idx="87">
                  <c:v>2.1100000000000001E-6</c:v>
                </c:pt>
                <c:pt idx="88">
                  <c:v>0</c:v>
                </c:pt>
                <c:pt idx="89">
                  <c:v>2.8100000000000002E-6</c:v>
                </c:pt>
                <c:pt idx="90">
                  <c:v>2.8100000000000002E-6</c:v>
                </c:pt>
                <c:pt idx="91">
                  <c:v>6.9999999999999997E-7</c:v>
                </c:pt>
                <c:pt idx="92">
                  <c:v>2.1100000000000001E-6</c:v>
                </c:pt>
                <c:pt idx="93">
                  <c:v>0</c:v>
                </c:pt>
                <c:pt idx="94">
                  <c:v>6.9999999999999997E-7</c:v>
                </c:pt>
                <c:pt idx="95">
                  <c:v>2.8100000000000002E-6</c:v>
                </c:pt>
                <c:pt idx="96">
                  <c:v>2.1100000000000001E-6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3E-438F-97EA-25821D7C79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26870383"/>
        <c:axId val="1680393071"/>
      </c:lineChart>
      <c:catAx>
        <c:axId val="152687038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80393071"/>
        <c:crosses val="autoZero"/>
        <c:auto val="1"/>
        <c:lblAlgn val="ctr"/>
        <c:lblOffset val="100"/>
        <c:tickLblSkip val="7"/>
        <c:tickMarkSkip val="7"/>
        <c:noMultiLvlLbl val="0"/>
      </c:catAx>
      <c:valAx>
        <c:axId val="1680393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0%" sourceLinked="0"/>
        <c:majorTickMark val="none"/>
        <c:minorTickMark val="none"/>
        <c:tickLblPos val="low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2687038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184</c:f>
              <c:numCache>
                <c:formatCode>m/d/yyyy</c:formatCode>
                <c:ptCount val="183"/>
                <c:pt idx="0">
                  <c:v>44203</c:v>
                </c:pt>
                <c:pt idx="1">
                  <c:v>44204</c:v>
                </c:pt>
                <c:pt idx="2">
                  <c:v>44205</c:v>
                </c:pt>
                <c:pt idx="3">
                  <c:v>44206</c:v>
                </c:pt>
                <c:pt idx="4">
                  <c:v>44207</c:v>
                </c:pt>
                <c:pt idx="5">
                  <c:v>44208</c:v>
                </c:pt>
                <c:pt idx="6">
                  <c:v>44209</c:v>
                </c:pt>
                <c:pt idx="7">
                  <c:v>44210</c:v>
                </c:pt>
                <c:pt idx="8">
                  <c:v>44211</c:v>
                </c:pt>
                <c:pt idx="9">
                  <c:v>44212</c:v>
                </c:pt>
                <c:pt idx="10">
                  <c:v>44213</c:v>
                </c:pt>
                <c:pt idx="11">
                  <c:v>44214</c:v>
                </c:pt>
                <c:pt idx="12">
                  <c:v>44215</c:v>
                </c:pt>
                <c:pt idx="13">
                  <c:v>44216</c:v>
                </c:pt>
                <c:pt idx="14">
                  <c:v>44217</c:v>
                </c:pt>
                <c:pt idx="15">
                  <c:v>44218</c:v>
                </c:pt>
                <c:pt idx="16">
                  <c:v>44219</c:v>
                </c:pt>
                <c:pt idx="17">
                  <c:v>44220</c:v>
                </c:pt>
                <c:pt idx="18">
                  <c:v>44221</c:v>
                </c:pt>
                <c:pt idx="19">
                  <c:v>44222</c:v>
                </c:pt>
                <c:pt idx="20">
                  <c:v>44223</c:v>
                </c:pt>
                <c:pt idx="21">
                  <c:v>44224</c:v>
                </c:pt>
                <c:pt idx="22">
                  <c:v>44225</c:v>
                </c:pt>
                <c:pt idx="23">
                  <c:v>44226</c:v>
                </c:pt>
                <c:pt idx="24">
                  <c:v>44227</c:v>
                </c:pt>
                <c:pt idx="25">
                  <c:v>44228</c:v>
                </c:pt>
                <c:pt idx="26">
                  <c:v>44229</c:v>
                </c:pt>
                <c:pt idx="27">
                  <c:v>44230</c:v>
                </c:pt>
                <c:pt idx="28">
                  <c:v>44231</c:v>
                </c:pt>
                <c:pt idx="29">
                  <c:v>44232</c:v>
                </c:pt>
                <c:pt idx="30">
                  <c:v>44233</c:v>
                </c:pt>
                <c:pt idx="31">
                  <c:v>44234</c:v>
                </c:pt>
                <c:pt idx="32">
                  <c:v>44235</c:v>
                </c:pt>
                <c:pt idx="33">
                  <c:v>44236</c:v>
                </c:pt>
                <c:pt idx="34">
                  <c:v>44237</c:v>
                </c:pt>
                <c:pt idx="35">
                  <c:v>44238</c:v>
                </c:pt>
                <c:pt idx="36">
                  <c:v>44239</c:v>
                </c:pt>
                <c:pt idx="37">
                  <c:v>44240</c:v>
                </c:pt>
                <c:pt idx="38">
                  <c:v>44241</c:v>
                </c:pt>
                <c:pt idx="39">
                  <c:v>44242</c:v>
                </c:pt>
                <c:pt idx="40">
                  <c:v>44243</c:v>
                </c:pt>
                <c:pt idx="41">
                  <c:v>44244</c:v>
                </c:pt>
                <c:pt idx="42">
                  <c:v>44245</c:v>
                </c:pt>
                <c:pt idx="43">
                  <c:v>44246</c:v>
                </c:pt>
                <c:pt idx="44">
                  <c:v>44247</c:v>
                </c:pt>
                <c:pt idx="45">
                  <c:v>44248</c:v>
                </c:pt>
                <c:pt idx="46">
                  <c:v>44249</c:v>
                </c:pt>
                <c:pt idx="47">
                  <c:v>44250</c:v>
                </c:pt>
                <c:pt idx="48">
                  <c:v>44251</c:v>
                </c:pt>
                <c:pt idx="49">
                  <c:v>44252</c:v>
                </c:pt>
                <c:pt idx="50">
                  <c:v>44253</c:v>
                </c:pt>
                <c:pt idx="51">
                  <c:v>44254</c:v>
                </c:pt>
                <c:pt idx="52">
                  <c:v>44255</c:v>
                </c:pt>
                <c:pt idx="53">
                  <c:v>44256</c:v>
                </c:pt>
                <c:pt idx="54">
                  <c:v>44257</c:v>
                </c:pt>
                <c:pt idx="55">
                  <c:v>44258</c:v>
                </c:pt>
                <c:pt idx="56">
                  <c:v>44259</c:v>
                </c:pt>
                <c:pt idx="57">
                  <c:v>44260</c:v>
                </c:pt>
                <c:pt idx="58">
                  <c:v>44261</c:v>
                </c:pt>
                <c:pt idx="59">
                  <c:v>44262</c:v>
                </c:pt>
                <c:pt idx="60">
                  <c:v>44263</c:v>
                </c:pt>
                <c:pt idx="61">
                  <c:v>44264</c:v>
                </c:pt>
                <c:pt idx="62">
                  <c:v>44265</c:v>
                </c:pt>
                <c:pt idx="63">
                  <c:v>44266</c:v>
                </c:pt>
                <c:pt idx="64">
                  <c:v>44267</c:v>
                </c:pt>
                <c:pt idx="65">
                  <c:v>44268</c:v>
                </c:pt>
                <c:pt idx="66">
                  <c:v>44269</c:v>
                </c:pt>
                <c:pt idx="67">
                  <c:v>44270</c:v>
                </c:pt>
                <c:pt idx="68">
                  <c:v>44271</c:v>
                </c:pt>
                <c:pt idx="69">
                  <c:v>44272</c:v>
                </c:pt>
                <c:pt idx="70">
                  <c:v>44273</c:v>
                </c:pt>
                <c:pt idx="71">
                  <c:v>44274</c:v>
                </c:pt>
                <c:pt idx="72">
                  <c:v>44275</c:v>
                </c:pt>
                <c:pt idx="73">
                  <c:v>44276</c:v>
                </c:pt>
                <c:pt idx="74">
                  <c:v>44277</c:v>
                </c:pt>
                <c:pt idx="75">
                  <c:v>44278</c:v>
                </c:pt>
                <c:pt idx="76">
                  <c:v>44279</c:v>
                </c:pt>
                <c:pt idx="77">
                  <c:v>44280</c:v>
                </c:pt>
                <c:pt idx="78">
                  <c:v>44281</c:v>
                </c:pt>
                <c:pt idx="79">
                  <c:v>44282</c:v>
                </c:pt>
                <c:pt idx="80">
                  <c:v>44283</c:v>
                </c:pt>
                <c:pt idx="81">
                  <c:v>44284</c:v>
                </c:pt>
                <c:pt idx="82">
                  <c:v>44285</c:v>
                </c:pt>
                <c:pt idx="83">
                  <c:v>44286</c:v>
                </c:pt>
                <c:pt idx="84">
                  <c:v>44287</c:v>
                </c:pt>
                <c:pt idx="85">
                  <c:v>44288</c:v>
                </c:pt>
                <c:pt idx="86">
                  <c:v>44289</c:v>
                </c:pt>
                <c:pt idx="87">
                  <c:v>44290</c:v>
                </c:pt>
                <c:pt idx="88">
                  <c:v>44291</c:v>
                </c:pt>
                <c:pt idx="89">
                  <c:v>44292</c:v>
                </c:pt>
                <c:pt idx="90">
                  <c:v>44293</c:v>
                </c:pt>
                <c:pt idx="91">
                  <c:v>44294</c:v>
                </c:pt>
                <c:pt idx="92">
                  <c:v>44295</c:v>
                </c:pt>
                <c:pt idx="93">
                  <c:v>44296</c:v>
                </c:pt>
                <c:pt idx="94">
                  <c:v>44297</c:v>
                </c:pt>
                <c:pt idx="95">
                  <c:v>44298</c:v>
                </c:pt>
                <c:pt idx="96">
                  <c:v>44299</c:v>
                </c:pt>
                <c:pt idx="97">
                  <c:v>44300</c:v>
                </c:pt>
                <c:pt idx="98">
                  <c:v>44301</c:v>
                </c:pt>
                <c:pt idx="99">
                  <c:v>44302</c:v>
                </c:pt>
                <c:pt idx="100">
                  <c:v>44303</c:v>
                </c:pt>
                <c:pt idx="101">
                  <c:v>44304</c:v>
                </c:pt>
                <c:pt idx="102">
                  <c:v>44305</c:v>
                </c:pt>
                <c:pt idx="103">
                  <c:v>44306</c:v>
                </c:pt>
                <c:pt idx="104">
                  <c:v>44307</c:v>
                </c:pt>
                <c:pt idx="105">
                  <c:v>44308</c:v>
                </c:pt>
                <c:pt idx="106">
                  <c:v>44309</c:v>
                </c:pt>
                <c:pt idx="107">
                  <c:v>44310</c:v>
                </c:pt>
                <c:pt idx="108">
                  <c:v>44311</c:v>
                </c:pt>
                <c:pt idx="109">
                  <c:v>44312</c:v>
                </c:pt>
                <c:pt idx="110">
                  <c:v>44313</c:v>
                </c:pt>
                <c:pt idx="111">
                  <c:v>44314</c:v>
                </c:pt>
                <c:pt idx="112">
                  <c:v>44315</c:v>
                </c:pt>
                <c:pt idx="113">
                  <c:v>44316</c:v>
                </c:pt>
                <c:pt idx="114">
                  <c:v>44317</c:v>
                </c:pt>
                <c:pt idx="115">
                  <c:v>44318</c:v>
                </c:pt>
                <c:pt idx="116">
                  <c:v>44319</c:v>
                </c:pt>
                <c:pt idx="117">
                  <c:v>44320</c:v>
                </c:pt>
                <c:pt idx="118">
                  <c:v>44321</c:v>
                </c:pt>
                <c:pt idx="119">
                  <c:v>44322</c:v>
                </c:pt>
                <c:pt idx="120">
                  <c:v>44323</c:v>
                </c:pt>
                <c:pt idx="121">
                  <c:v>44324</c:v>
                </c:pt>
                <c:pt idx="122">
                  <c:v>44325</c:v>
                </c:pt>
                <c:pt idx="123">
                  <c:v>44326</c:v>
                </c:pt>
                <c:pt idx="124">
                  <c:v>44327</c:v>
                </c:pt>
                <c:pt idx="125">
                  <c:v>44328</c:v>
                </c:pt>
                <c:pt idx="126">
                  <c:v>44329</c:v>
                </c:pt>
                <c:pt idx="127">
                  <c:v>44330</c:v>
                </c:pt>
                <c:pt idx="128">
                  <c:v>44331</c:v>
                </c:pt>
                <c:pt idx="129">
                  <c:v>44332</c:v>
                </c:pt>
                <c:pt idx="130">
                  <c:v>44333</c:v>
                </c:pt>
                <c:pt idx="131">
                  <c:v>44334</c:v>
                </c:pt>
                <c:pt idx="132">
                  <c:v>44335</c:v>
                </c:pt>
                <c:pt idx="133">
                  <c:v>44336</c:v>
                </c:pt>
                <c:pt idx="134">
                  <c:v>44337</c:v>
                </c:pt>
                <c:pt idx="135">
                  <c:v>44338</c:v>
                </c:pt>
                <c:pt idx="136">
                  <c:v>44339</c:v>
                </c:pt>
                <c:pt idx="137">
                  <c:v>44340</c:v>
                </c:pt>
                <c:pt idx="138">
                  <c:v>44341</c:v>
                </c:pt>
                <c:pt idx="139">
                  <c:v>44342</c:v>
                </c:pt>
                <c:pt idx="140">
                  <c:v>44343</c:v>
                </c:pt>
                <c:pt idx="141">
                  <c:v>44344</c:v>
                </c:pt>
                <c:pt idx="142">
                  <c:v>44345</c:v>
                </c:pt>
                <c:pt idx="143">
                  <c:v>44346</c:v>
                </c:pt>
                <c:pt idx="144">
                  <c:v>44347</c:v>
                </c:pt>
                <c:pt idx="145">
                  <c:v>44348</c:v>
                </c:pt>
                <c:pt idx="146">
                  <c:v>44349</c:v>
                </c:pt>
                <c:pt idx="147">
                  <c:v>44350</c:v>
                </c:pt>
                <c:pt idx="148">
                  <c:v>44351</c:v>
                </c:pt>
                <c:pt idx="149">
                  <c:v>44352</c:v>
                </c:pt>
                <c:pt idx="150">
                  <c:v>44353</c:v>
                </c:pt>
                <c:pt idx="151">
                  <c:v>44354</c:v>
                </c:pt>
                <c:pt idx="152">
                  <c:v>44355</c:v>
                </c:pt>
                <c:pt idx="153">
                  <c:v>44356</c:v>
                </c:pt>
                <c:pt idx="154">
                  <c:v>44357</c:v>
                </c:pt>
                <c:pt idx="155">
                  <c:v>44358</c:v>
                </c:pt>
                <c:pt idx="156">
                  <c:v>44359</c:v>
                </c:pt>
                <c:pt idx="157">
                  <c:v>44360</c:v>
                </c:pt>
                <c:pt idx="158">
                  <c:v>44361</c:v>
                </c:pt>
                <c:pt idx="159">
                  <c:v>44362</c:v>
                </c:pt>
                <c:pt idx="160">
                  <c:v>44363</c:v>
                </c:pt>
                <c:pt idx="161">
                  <c:v>44364</c:v>
                </c:pt>
                <c:pt idx="162">
                  <c:v>44365</c:v>
                </c:pt>
                <c:pt idx="163">
                  <c:v>44366</c:v>
                </c:pt>
                <c:pt idx="164">
                  <c:v>44367</c:v>
                </c:pt>
                <c:pt idx="165">
                  <c:v>44368</c:v>
                </c:pt>
                <c:pt idx="166">
                  <c:v>44369</c:v>
                </c:pt>
                <c:pt idx="167">
                  <c:v>44370</c:v>
                </c:pt>
                <c:pt idx="168">
                  <c:v>44371</c:v>
                </c:pt>
                <c:pt idx="169">
                  <c:v>44372</c:v>
                </c:pt>
                <c:pt idx="170">
                  <c:v>44373</c:v>
                </c:pt>
                <c:pt idx="171">
                  <c:v>44374</c:v>
                </c:pt>
                <c:pt idx="172">
                  <c:v>44375</c:v>
                </c:pt>
                <c:pt idx="173">
                  <c:v>44376</c:v>
                </c:pt>
                <c:pt idx="174">
                  <c:v>44377</c:v>
                </c:pt>
                <c:pt idx="175">
                  <c:v>44378</c:v>
                </c:pt>
                <c:pt idx="176">
                  <c:v>44379</c:v>
                </c:pt>
                <c:pt idx="177">
                  <c:v>44380</c:v>
                </c:pt>
                <c:pt idx="178">
                  <c:v>44381</c:v>
                </c:pt>
                <c:pt idx="179">
                  <c:v>44382</c:v>
                </c:pt>
                <c:pt idx="180">
                  <c:v>44383</c:v>
                </c:pt>
                <c:pt idx="181">
                  <c:v>44384</c:v>
                </c:pt>
                <c:pt idx="182">
                  <c:v>44385</c:v>
                </c:pt>
              </c:numCache>
            </c:numRef>
          </c:cat>
          <c:val>
            <c:numRef>
              <c:f>Sheet1!$B$2:$B$184</c:f>
              <c:numCache>
                <c:formatCode>#\ ##0_ ;\-#\ ##0\ </c:formatCode>
                <c:ptCount val="183"/>
                <c:pt idx="0">
                  <c:v>97</c:v>
                </c:pt>
                <c:pt idx="1">
                  <c:v>120</c:v>
                </c:pt>
                <c:pt idx="2">
                  <c:v>48</c:v>
                </c:pt>
                <c:pt idx="3">
                  <c:v>24</c:v>
                </c:pt>
                <c:pt idx="4">
                  <c:v>226</c:v>
                </c:pt>
                <c:pt idx="5">
                  <c:v>95</c:v>
                </c:pt>
                <c:pt idx="6">
                  <c:v>106</c:v>
                </c:pt>
                <c:pt idx="7">
                  <c:v>52</c:v>
                </c:pt>
                <c:pt idx="8">
                  <c:v>63</c:v>
                </c:pt>
                <c:pt idx="9">
                  <c:v>31</c:v>
                </c:pt>
                <c:pt idx="10">
                  <c:v>26</c:v>
                </c:pt>
                <c:pt idx="11">
                  <c:v>122</c:v>
                </c:pt>
                <c:pt idx="12">
                  <c:v>74</c:v>
                </c:pt>
                <c:pt idx="13">
                  <c:v>71</c:v>
                </c:pt>
                <c:pt idx="14">
                  <c:v>58</c:v>
                </c:pt>
                <c:pt idx="15">
                  <c:v>78</c:v>
                </c:pt>
                <c:pt idx="16">
                  <c:v>26</c:v>
                </c:pt>
                <c:pt idx="17">
                  <c:v>11</c:v>
                </c:pt>
                <c:pt idx="18">
                  <c:v>89</c:v>
                </c:pt>
                <c:pt idx="19">
                  <c:v>76</c:v>
                </c:pt>
                <c:pt idx="20">
                  <c:v>57</c:v>
                </c:pt>
                <c:pt idx="21">
                  <c:v>32</c:v>
                </c:pt>
                <c:pt idx="22">
                  <c:v>45</c:v>
                </c:pt>
                <c:pt idx="23">
                  <c:v>29</c:v>
                </c:pt>
                <c:pt idx="24">
                  <c:v>9</c:v>
                </c:pt>
                <c:pt idx="25">
                  <c:v>78</c:v>
                </c:pt>
                <c:pt idx="26">
                  <c:v>67</c:v>
                </c:pt>
                <c:pt idx="27">
                  <c:v>54</c:v>
                </c:pt>
                <c:pt idx="28">
                  <c:v>41</c:v>
                </c:pt>
                <c:pt idx="29">
                  <c:v>46</c:v>
                </c:pt>
                <c:pt idx="30">
                  <c:v>10</c:v>
                </c:pt>
                <c:pt idx="31">
                  <c:v>17</c:v>
                </c:pt>
                <c:pt idx="32">
                  <c:v>68</c:v>
                </c:pt>
                <c:pt idx="33">
                  <c:v>21</c:v>
                </c:pt>
                <c:pt idx="34">
                  <c:v>33</c:v>
                </c:pt>
                <c:pt idx="35">
                  <c:v>38</c:v>
                </c:pt>
                <c:pt idx="36">
                  <c:v>39</c:v>
                </c:pt>
                <c:pt idx="37">
                  <c:v>15</c:v>
                </c:pt>
                <c:pt idx="38">
                  <c:v>9</c:v>
                </c:pt>
                <c:pt idx="39">
                  <c:v>62</c:v>
                </c:pt>
                <c:pt idx="40">
                  <c:v>32</c:v>
                </c:pt>
                <c:pt idx="41">
                  <c:v>36</c:v>
                </c:pt>
                <c:pt idx="42">
                  <c:v>28</c:v>
                </c:pt>
                <c:pt idx="43">
                  <c:v>33</c:v>
                </c:pt>
                <c:pt idx="44">
                  <c:v>6</c:v>
                </c:pt>
                <c:pt idx="45">
                  <c:v>18</c:v>
                </c:pt>
                <c:pt idx="46">
                  <c:v>70</c:v>
                </c:pt>
                <c:pt idx="47">
                  <c:v>44</c:v>
                </c:pt>
                <c:pt idx="48">
                  <c:v>34</c:v>
                </c:pt>
                <c:pt idx="49">
                  <c:v>31</c:v>
                </c:pt>
                <c:pt idx="50">
                  <c:v>38</c:v>
                </c:pt>
                <c:pt idx="51">
                  <c:v>9</c:v>
                </c:pt>
                <c:pt idx="52">
                  <c:v>9</c:v>
                </c:pt>
                <c:pt idx="53">
                  <c:v>55</c:v>
                </c:pt>
                <c:pt idx="54">
                  <c:v>38</c:v>
                </c:pt>
                <c:pt idx="55">
                  <c:v>55</c:v>
                </c:pt>
                <c:pt idx="56">
                  <c:v>33</c:v>
                </c:pt>
                <c:pt idx="57">
                  <c:v>28</c:v>
                </c:pt>
                <c:pt idx="58">
                  <c:v>13</c:v>
                </c:pt>
                <c:pt idx="59">
                  <c:v>9</c:v>
                </c:pt>
                <c:pt idx="60">
                  <c:v>59</c:v>
                </c:pt>
                <c:pt idx="61">
                  <c:v>37</c:v>
                </c:pt>
                <c:pt idx="62">
                  <c:v>29</c:v>
                </c:pt>
                <c:pt idx="63">
                  <c:v>25</c:v>
                </c:pt>
                <c:pt idx="64">
                  <c:v>18</c:v>
                </c:pt>
                <c:pt idx="65">
                  <c:v>11</c:v>
                </c:pt>
                <c:pt idx="66">
                  <c:v>7</c:v>
                </c:pt>
                <c:pt idx="67">
                  <c:v>34</c:v>
                </c:pt>
                <c:pt idx="68">
                  <c:v>23</c:v>
                </c:pt>
                <c:pt idx="69">
                  <c:v>23</c:v>
                </c:pt>
                <c:pt idx="70">
                  <c:v>16</c:v>
                </c:pt>
                <c:pt idx="71">
                  <c:v>20</c:v>
                </c:pt>
                <c:pt idx="72">
                  <c:v>1</c:v>
                </c:pt>
                <c:pt idx="73">
                  <c:v>4</c:v>
                </c:pt>
                <c:pt idx="74">
                  <c:v>27</c:v>
                </c:pt>
                <c:pt idx="75">
                  <c:v>18</c:v>
                </c:pt>
                <c:pt idx="76">
                  <c:v>10</c:v>
                </c:pt>
                <c:pt idx="77">
                  <c:v>8</c:v>
                </c:pt>
                <c:pt idx="78">
                  <c:v>16</c:v>
                </c:pt>
                <c:pt idx="79">
                  <c:v>3</c:v>
                </c:pt>
                <c:pt idx="80">
                  <c:v>1</c:v>
                </c:pt>
                <c:pt idx="81">
                  <c:v>18</c:v>
                </c:pt>
                <c:pt idx="82">
                  <c:v>13</c:v>
                </c:pt>
                <c:pt idx="83">
                  <c:v>12</c:v>
                </c:pt>
                <c:pt idx="84">
                  <c:v>11</c:v>
                </c:pt>
                <c:pt idx="85">
                  <c:v>3</c:v>
                </c:pt>
                <c:pt idx="86">
                  <c:v>3</c:v>
                </c:pt>
                <c:pt idx="87">
                  <c:v>2</c:v>
                </c:pt>
                <c:pt idx="88">
                  <c:v>4</c:v>
                </c:pt>
                <c:pt idx="89">
                  <c:v>20</c:v>
                </c:pt>
                <c:pt idx="90">
                  <c:v>15</c:v>
                </c:pt>
                <c:pt idx="91">
                  <c:v>16</c:v>
                </c:pt>
                <c:pt idx="92">
                  <c:v>8</c:v>
                </c:pt>
                <c:pt idx="93">
                  <c:v>4</c:v>
                </c:pt>
                <c:pt idx="94">
                  <c:v>1</c:v>
                </c:pt>
                <c:pt idx="95">
                  <c:v>8</c:v>
                </c:pt>
                <c:pt idx="96">
                  <c:v>6</c:v>
                </c:pt>
                <c:pt idx="97">
                  <c:v>4</c:v>
                </c:pt>
                <c:pt idx="98">
                  <c:v>5</c:v>
                </c:pt>
                <c:pt idx="99">
                  <c:v>6</c:v>
                </c:pt>
                <c:pt idx="100">
                  <c:v>1</c:v>
                </c:pt>
                <c:pt idx="101">
                  <c:v>1</c:v>
                </c:pt>
                <c:pt idx="102">
                  <c:v>10</c:v>
                </c:pt>
                <c:pt idx="103">
                  <c:v>3</c:v>
                </c:pt>
                <c:pt idx="104">
                  <c:v>3</c:v>
                </c:pt>
                <c:pt idx="105">
                  <c:v>4</c:v>
                </c:pt>
                <c:pt idx="106">
                  <c:v>3</c:v>
                </c:pt>
                <c:pt idx="107">
                  <c:v>1</c:v>
                </c:pt>
                <c:pt idx="108">
                  <c:v>0</c:v>
                </c:pt>
                <c:pt idx="109">
                  <c:v>5</c:v>
                </c:pt>
                <c:pt idx="110">
                  <c:v>5</c:v>
                </c:pt>
                <c:pt idx="111">
                  <c:v>1</c:v>
                </c:pt>
                <c:pt idx="112">
                  <c:v>2</c:v>
                </c:pt>
                <c:pt idx="113">
                  <c:v>4</c:v>
                </c:pt>
                <c:pt idx="114">
                  <c:v>0</c:v>
                </c:pt>
                <c:pt idx="115">
                  <c:v>1</c:v>
                </c:pt>
                <c:pt idx="116">
                  <c:v>2</c:v>
                </c:pt>
                <c:pt idx="117">
                  <c:v>2</c:v>
                </c:pt>
                <c:pt idx="118">
                  <c:v>1</c:v>
                </c:pt>
                <c:pt idx="119">
                  <c:v>3</c:v>
                </c:pt>
                <c:pt idx="120">
                  <c:v>2</c:v>
                </c:pt>
                <c:pt idx="121">
                  <c:v>1</c:v>
                </c:pt>
                <c:pt idx="122">
                  <c:v>0</c:v>
                </c:pt>
                <c:pt idx="123">
                  <c:v>1</c:v>
                </c:pt>
                <c:pt idx="124">
                  <c:v>4</c:v>
                </c:pt>
                <c:pt idx="125">
                  <c:v>0</c:v>
                </c:pt>
                <c:pt idx="126">
                  <c:v>2</c:v>
                </c:pt>
                <c:pt idx="127">
                  <c:v>1</c:v>
                </c:pt>
                <c:pt idx="128">
                  <c:v>0</c:v>
                </c:pt>
                <c:pt idx="129">
                  <c:v>0</c:v>
                </c:pt>
                <c:pt idx="130">
                  <c:v>4</c:v>
                </c:pt>
                <c:pt idx="131">
                  <c:v>4</c:v>
                </c:pt>
                <c:pt idx="132">
                  <c:v>1</c:v>
                </c:pt>
                <c:pt idx="133">
                  <c:v>2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1</c:v>
                </c:pt>
                <c:pt idx="138">
                  <c:v>1</c:v>
                </c:pt>
                <c:pt idx="139">
                  <c:v>1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1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 formatCode="General">
                  <c:v>0</c:v>
                </c:pt>
                <c:pt idx="161" formatCode="General">
                  <c:v>0</c:v>
                </c:pt>
                <c:pt idx="162" formatCode="General">
                  <c:v>0</c:v>
                </c:pt>
                <c:pt idx="163" formatCode="General">
                  <c:v>0</c:v>
                </c:pt>
                <c:pt idx="164" formatCode="General">
                  <c:v>0</c:v>
                </c:pt>
                <c:pt idx="165" formatCode="General">
                  <c:v>0</c:v>
                </c:pt>
                <c:pt idx="166" formatCode="General">
                  <c:v>0</c:v>
                </c:pt>
                <c:pt idx="167" formatCode="General">
                  <c:v>0</c:v>
                </c:pt>
                <c:pt idx="168" formatCode="General">
                  <c:v>0</c:v>
                </c:pt>
                <c:pt idx="169" formatCode="General">
                  <c:v>0</c:v>
                </c:pt>
                <c:pt idx="170" formatCode="General">
                  <c:v>0</c:v>
                </c:pt>
                <c:pt idx="171" formatCode="General">
                  <c:v>0</c:v>
                </c:pt>
                <c:pt idx="172" formatCode="General">
                  <c:v>0</c:v>
                </c:pt>
                <c:pt idx="173" formatCode="General">
                  <c:v>0</c:v>
                </c:pt>
                <c:pt idx="174" formatCode="General">
                  <c:v>0</c:v>
                </c:pt>
                <c:pt idx="175" formatCode="General">
                  <c:v>1</c:v>
                </c:pt>
                <c:pt idx="176" formatCode="General">
                  <c:v>0</c:v>
                </c:pt>
                <c:pt idx="177" formatCode="General">
                  <c:v>0</c:v>
                </c:pt>
                <c:pt idx="178" formatCode="General">
                  <c:v>0</c:v>
                </c:pt>
                <c:pt idx="179" formatCode="General">
                  <c:v>0</c:v>
                </c:pt>
                <c:pt idx="180" formatCode="General">
                  <c:v>0</c:v>
                </c:pt>
                <c:pt idx="181" formatCode="General">
                  <c:v>0</c:v>
                </c:pt>
                <c:pt idx="182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  <c:majorUnit val="7"/>
        <c:majorTimeUnit val="days"/>
      </c:date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29925759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1202</c:v>
                </c:pt>
                <c:pt idx="1">
                  <c:v>1438</c:v>
                </c:pt>
                <c:pt idx="2">
                  <c:v>1432</c:v>
                </c:pt>
                <c:pt idx="3">
                  <c:v>1328</c:v>
                </c:pt>
                <c:pt idx="4">
                  <c:v>1412</c:v>
                </c:pt>
                <c:pt idx="5">
                  <c:v>771</c:v>
                </c:pt>
                <c:pt idx="6">
                  <c:v>448</c:v>
                </c:pt>
                <c:pt idx="7">
                  <c:v>1122</c:v>
                </c:pt>
                <c:pt idx="8">
                  <c:v>1466</c:v>
                </c:pt>
                <c:pt idx="9">
                  <c:v>1383</c:v>
                </c:pt>
                <c:pt idx="10">
                  <c:v>1387</c:v>
                </c:pt>
                <c:pt idx="11">
                  <c:v>1328</c:v>
                </c:pt>
                <c:pt idx="12">
                  <c:v>728</c:v>
                </c:pt>
                <c:pt idx="13">
                  <c:v>457</c:v>
                </c:pt>
                <c:pt idx="14">
                  <c:v>1302</c:v>
                </c:pt>
                <c:pt idx="15">
                  <c:v>1761</c:v>
                </c:pt>
                <c:pt idx="16">
                  <c:v>1459</c:v>
                </c:pt>
                <c:pt idx="17">
                  <c:v>1600</c:v>
                </c:pt>
                <c:pt idx="18">
                  <c:v>1717</c:v>
                </c:pt>
                <c:pt idx="19">
                  <c:v>945</c:v>
                </c:pt>
                <c:pt idx="20">
                  <c:v>581</c:v>
                </c:pt>
                <c:pt idx="21">
                  <c:v>1632</c:v>
                </c:pt>
                <c:pt idx="22">
                  <c:v>2109</c:v>
                </c:pt>
                <c:pt idx="23">
                  <c:v>1924</c:v>
                </c:pt>
                <c:pt idx="24">
                  <c:v>2007</c:v>
                </c:pt>
                <c:pt idx="25">
                  <c:v>2093</c:v>
                </c:pt>
                <c:pt idx="26">
                  <c:v>1051</c:v>
                </c:pt>
                <c:pt idx="27">
                  <c:v>657</c:v>
                </c:pt>
                <c:pt idx="28">
                  <c:v>1851</c:v>
                </c:pt>
                <c:pt idx="29">
                  <c:v>2400</c:v>
                </c:pt>
                <c:pt idx="30">
                  <c:v>2166</c:v>
                </c:pt>
                <c:pt idx="31">
                  <c:v>2055</c:v>
                </c:pt>
                <c:pt idx="32">
                  <c:v>1877</c:v>
                </c:pt>
                <c:pt idx="33">
                  <c:v>1311</c:v>
                </c:pt>
                <c:pt idx="34">
                  <c:v>644</c:v>
                </c:pt>
                <c:pt idx="35">
                  <c:v>1543</c:v>
                </c:pt>
                <c:pt idx="36">
                  <c:v>1983</c:v>
                </c:pt>
                <c:pt idx="37">
                  <c:v>2017</c:v>
                </c:pt>
                <c:pt idx="38">
                  <c:v>1628</c:v>
                </c:pt>
                <c:pt idx="39">
                  <c:v>2249</c:v>
                </c:pt>
                <c:pt idx="40">
                  <c:v>994</c:v>
                </c:pt>
                <c:pt idx="41">
                  <c:v>541</c:v>
                </c:pt>
                <c:pt idx="42">
                  <c:v>1624</c:v>
                </c:pt>
                <c:pt idx="43">
                  <c:v>2050</c:v>
                </c:pt>
                <c:pt idx="44">
                  <c:v>1787</c:v>
                </c:pt>
                <c:pt idx="45">
                  <c:v>1585</c:v>
                </c:pt>
                <c:pt idx="46">
                  <c:v>1429</c:v>
                </c:pt>
                <c:pt idx="47">
                  <c:v>843</c:v>
                </c:pt>
                <c:pt idx="48">
                  <c:v>440</c:v>
                </c:pt>
                <c:pt idx="49">
                  <c:v>1211</c:v>
                </c:pt>
                <c:pt idx="50">
                  <c:v>1621</c:v>
                </c:pt>
                <c:pt idx="51">
                  <c:v>1320</c:v>
                </c:pt>
                <c:pt idx="52">
                  <c:v>1288</c:v>
                </c:pt>
                <c:pt idx="53">
                  <c:v>1176</c:v>
                </c:pt>
                <c:pt idx="54">
                  <c:v>641</c:v>
                </c:pt>
                <c:pt idx="55">
                  <c:v>326</c:v>
                </c:pt>
                <c:pt idx="56">
                  <c:v>1117</c:v>
                </c:pt>
                <c:pt idx="57">
                  <c:v>1295</c:v>
                </c:pt>
                <c:pt idx="58">
                  <c:v>1193</c:v>
                </c:pt>
                <c:pt idx="59">
                  <c:v>989</c:v>
                </c:pt>
                <c:pt idx="60">
                  <c:v>550</c:v>
                </c:pt>
                <c:pt idx="61">
                  <c:v>377</c:v>
                </c:pt>
                <c:pt idx="62">
                  <c:v>327</c:v>
                </c:pt>
                <c:pt idx="63">
                  <c:v>290</c:v>
                </c:pt>
                <c:pt idx="64">
                  <c:v>816</c:v>
                </c:pt>
                <c:pt idx="65">
                  <c:v>980</c:v>
                </c:pt>
                <c:pt idx="66">
                  <c:v>782</c:v>
                </c:pt>
                <c:pt idx="67">
                  <c:v>716</c:v>
                </c:pt>
                <c:pt idx="68">
                  <c:v>363</c:v>
                </c:pt>
                <c:pt idx="69">
                  <c:v>202</c:v>
                </c:pt>
                <c:pt idx="70">
                  <c:v>578</c:v>
                </c:pt>
                <c:pt idx="71">
                  <c:v>690</c:v>
                </c:pt>
                <c:pt idx="72">
                  <c:v>581</c:v>
                </c:pt>
                <c:pt idx="73">
                  <c:v>468</c:v>
                </c:pt>
                <c:pt idx="74">
                  <c:v>513</c:v>
                </c:pt>
                <c:pt idx="75">
                  <c:v>245</c:v>
                </c:pt>
                <c:pt idx="76">
                  <c:v>144</c:v>
                </c:pt>
                <c:pt idx="77">
                  <c:v>469</c:v>
                </c:pt>
                <c:pt idx="78">
                  <c:v>490</c:v>
                </c:pt>
                <c:pt idx="79">
                  <c:v>412</c:v>
                </c:pt>
                <c:pt idx="80">
                  <c:v>400</c:v>
                </c:pt>
                <c:pt idx="81">
                  <c:v>335</c:v>
                </c:pt>
                <c:pt idx="82">
                  <c:v>156</c:v>
                </c:pt>
                <c:pt idx="83">
                  <c:v>120</c:v>
                </c:pt>
                <c:pt idx="84">
                  <c:v>371</c:v>
                </c:pt>
                <c:pt idx="85">
                  <c:v>384</c:v>
                </c:pt>
                <c:pt idx="86">
                  <c:v>330</c:v>
                </c:pt>
                <c:pt idx="87">
                  <c:v>302</c:v>
                </c:pt>
                <c:pt idx="88">
                  <c:v>303</c:v>
                </c:pt>
                <c:pt idx="89">
                  <c:v>172</c:v>
                </c:pt>
                <c:pt idx="90">
                  <c:v>86</c:v>
                </c:pt>
                <c:pt idx="91">
                  <c:v>299</c:v>
                </c:pt>
                <c:pt idx="92">
                  <c:v>310</c:v>
                </c:pt>
                <c:pt idx="93">
                  <c:v>251</c:v>
                </c:pt>
                <c:pt idx="94">
                  <c:v>223</c:v>
                </c:pt>
                <c:pt idx="95">
                  <c:v>179</c:v>
                </c:pt>
                <c:pt idx="96">
                  <c:v>91</c:v>
                </c:pt>
                <c:pt idx="97">
                  <c:v>55</c:v>
                </c:pt>
                <c:pt idx="98">
                  <c:v>214</c:v>
                </c:pt>
                <c:pt idx="99">
                  <c:v>184</c:v>
                </c:pt>
                <c:pt idx="100">
                  <c:v>133</c:v>
                </c:pt>
                <c:pt idx="101">
                  <c:v>155</c:v>
                </c:pt>
                <c:pt idx="102">
                  <c:v>132</c:v>
                </c:pt>
                <c:pt idx="103">
                  <c:v>70</c:v>
                </c:pt>
                <c:pt idx="104">
                  <c:v>29</c:v>
                </c:pt>
                <c:pt idx="105">
                  <c:v>117</c:v>
                </c:pt>
                <c:pt idx="106">
                  <c:v>139</c:v>
                </c:pt>
                <c:pt idx="107">
                  <c:v>92</c:v>
                </c:pt>
                <c:pt idx="108">
                  <c:v>91</c:v>
                </c:pt>
                <c:pt idx="109">
                  <c:v>76</c:v>
                </c:pt>
                <c:pt idx="110">
                  <c:v>32</c:v>
                </c:pt>
                <c:pt idx="111">
                  <c:v>19</c:v>
                </c:pt>
                <c:pt idx="112">
                  <c:v>67</c:v>
                </c:pt>
                <c:pt idx="113">
                  <c:v>79</c:v>
                </c:pt>
                <c:pt idx="114">
                  <c:v>59</c:v>
                </c:pt>
                <c:pt idx="115">
                  <c:v>48</c:v>
                </c:pt>
                <c:pt idx="116">
                  <c:v>60</c:v>
                </c:pt>
                <c:pt idx="117">
                  <c:v>19</c:v>
                </c:pt>
                <c:pt idx="118">
                  <c:v>12</c:v>
                </c:pt>
                <c:pt idx="119">
                  <c:v>49</c:v>
                </c:pt>
                <c:pt idx="120">
                  <c:v>40</c:v>
                </c:pt>
                <c:pt idx="121">
                  <c:v>33</c:v>
                </c:pt>
                <c:pt idx="122">
                  <c:v>44</c:v>
                </c:pt>
                <c:pt idx="123">
                  <c:v>31</c:v>
                </c:pt>
                <c:pt idx="124">
                  <c:v>9</c:v>
                </c:pt>
                <c:pt idx="125">
                  <c:v>4</c:v>
                </c:pt>
                <c:pt idx="126">
                  <c:v>28</c:v>
                </c:pt>
                <c:pt idx="127">
                  <c:v>23</c:v>
                </c:pt>
                <c:pt idx="128">
                  <c:v>21</c:v>
                </c:pt>
                <c:pt idx="129">
                  <c:v>23</c:v>
                </c:pt>
                <c:pt idx="130">
                  <c:v>9</c:v>
                </c:pt>
                <c:pt idx="131">
                  <c:v>1</c:v>
                </c:pt>
                <c:pt idx="132">
                  <c:v>8</c:v>
                </c:pt>
                <c:pt idx="133">
                  <c:v>16</c:v>
                </c:pt>
                <c:pt idx="134">
                  <c:v>17</c:v>
                </c:pt>
                <c:pt idx="135">
                  <c:v>21</c:v>
                </c:pt>
                <c:pt idx="136">
                  <c:v>9</c:v>
                </c:pt>
                <c:pt idx="137">
                  <c:v>17</c:v>
                </c:pt>
                <c:pt idx="138">
                  <c:v>4</c:v>
                </c:pt>
                <c:pt idx="139">
                  <c:v>4</c:v>
                </c:pt>
                <c:pt idx="140">
                  <c:v>12</c:v>
                </c:pt>
                <c:pt idx="141">
                  <c:v>16</c:v>
                </c:pt>
                <c:pt idx="142">
                  <c:v>7</c:v>
                </c:pt>
                <c:pt idx="143">
                  <c:v>3</c:v>
                </c:pt>
                <c:pt idx="144">
                  <c:v>3</c:v>
                </c:pt>
                <c:pt idx="145">
                  <c:v>4</c:v>
                </c:pt>
                <c:pt idx="147">
                  <c:v>9</c:v>
                </c:pt>
                <c:pt idx="148">
                  <c:v>5</c:v>
                </c:pt>
                <c:pt idx="149">
                  <c:v>3</c:v>
                </c:pt>
                <c:pt idx="150">
                  <c:v>6</c:v>
                </c:pt>
                <c:pt idx="151">
                  <c:v>3</c:v>
                </c:pt>
                <c:pt idx="152">
                  <c:v>6</c:v>
                </c:pt>
                <c:pt idx="153">
                  <c:v>6</c:v>
                </c:pt>
                <c:pt idx="154">
                  <c:v>2</c:v>
                </c:pt>
                <c:pt idx="156">
                  <c:v>12</c:v>
                </c:pt>
                <c:pt idx="157">
                  <c:v>7</c:v>
                </c:pt>
                <c:pt idx="158">
                  <c:v>9</c:v>
                </c:pt>
                <c:pt idx="159">
                  <c:v>4</c:v>
                </c:pt>
                <c:pt idx="160">
                  <c:v>3</c:v>
                </c:pt>
                <c:pt idx="161">
                  <c:v>19</c:v>
                </c:pt>
                <c:pt idx="162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EA-4BD4-9376-87441B21E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7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522</c:v>
                </c:pt>
                <c:pt idx="1">
                  <c:v>627</c:v>
                </c:pt>
                <c:pt idx="2">
                  <c:v>615</c:v>
                </c:pt>
                <c:pt idx="3">
                  <c:v>605</c:v>
                </c:pt>
                <c:pt idx="4">
                  <c:v>608</c:v>
                </c:pt>
                <c:pt idx="5">
                  <c:v>359</c:v>
                </c:pt>
                <c:pt idx="6">
                  <c:v>210</c:v>
                </c:pt>
                <c:pt idx="7">
                  <c:v>455</c:v>
                </c:pt>
                <c:pt idx="8">
                  <c:v>657</c:v>
                </c:pt>
                <c:pt idx="9">
                  <c:v>553</c:v>
                </c:pt>
                <c:pt idx="10">
                  <c:v>580</c:v>
                </c:pt>
                <c:pt idx="11">
                  <c:v>566</c:v>
                </c:pt>
                <c:pt idx="12">
                  <c:v>293</c:v>
                </c:pt>
                <c:pt idx="13">
                  <c:v>208</c:v>
                </c:pt>
                <c:pt idx="14">
                  <c:v>556</c:v>
                </c:pt>
                <c:pt idx="15">
                  <c:v>719</c:v>
                </c:pt>
                <c:pt idx="16">
                  <c:v>601</c:v>
                </c:pt>
                <c:pt idx="17">
                  <c:v>646</c:v>
                </c:pt>
                <c:pt idx="18">
                  <c:v>741</c:v>
                </c:pt>
                <c:pt idx="19">
                  <c:v>378</c:v>
                </c:pt>
                <c:pt idx="20">
                  <c:v>285</c:v>
                </c:pt>
                <c:pt idx="21">
                  <c:v>697</c:v>
                </c:pt>
                <c:pt idx="22">
                  <c:v>847</c:v>
                </c:pt>
                <c:pt idx="23">
                  <c:v>752</c:v>
                </c:pt>
                <c:pt idx="24">
                  <c:v>807</c:v>
                </c:pt>
                <c:pt idx="25">
                  <c:v>810</c:v>
                </c:pt>
                <c:pt idx="26">
                  <c:v>409</c:v>
                </c:pt>
                <c:pt idx="27">
                  <c:v>283</c:v>
                </c:pt>
                <c:pt idx="28">
                  <c:v>773</c:v>
                </c:pt>
                <c:pt idx="29">
                  <c:v>917</c:v>
                </c:pt>
                <c:pt idx="30">
                  <c:v>852</c:v>
                </c:pt>
                <c:pt idx="31">
                  <c:v>748</c:v>
                </c:pt>
                <c:pt idx="32">
                  <c:v>713</c:v>
                </c:pt>
                <c:pt idx="33">
                  <c:v>532</c:v>
                </c:pt>
                <c:pt idx="34">
                  <c:v>294</c:v>
                </c:pt>
                <c:pt idx="35">
                  <c:v>586</c:v>
                </c:pt>
                <c:pt idx="36">
                  <c:v>736</c:v>
                </c:pt>
                <c:pt idx="37">
                  <c:v>752</c:v>
                </c:pt>
                <c:pt idx="38">
                  <c:v>640</c:v>
                </c:pt>
                <c:pt idx="39">
                  <c:v>854</c:v>
                </c:pt>
                <c:pt idx="40">
                  <c:v>384</c:v>
                </c:pt>
                <c:pt idx="41">
                  <c:v>220</c:v>
                </c:pt>
                <c:pt idx="42">
                  <c:v>663</c:v>
                </c:pt>
                <c:pt idx="43">
                  <c:v>766</c:v>
                </c:pt>
                <c:pt idx="44">
                  <c:v>672</c:v>
                </c:pt>
                <c:pt idx="45">
                  <c:v>601</c:v>
                </c:pt>
                <c:pt idx="46">
                  <c:v>526</c:v>
                </c:pt>
                <c:pt idx="47">
                  <c:v>352</c:v>
                </c:pt>
                <c:pt idx="48">
                  <c:v>193</c:v>
                </c:pt>
                <c:pt idx="49">
                  <c:v>462</c:v>
                </c:pt>
                <c:pt idx="50">
                  <c:v>618</c:v>
                </c:pt>
                <c:pt idx="51">
                  <c:v>486</c:v>
                </c:pt>
                <c:pt idx="52">
                  <c:v>482</c:v>
                </c:pt>
                <c:pt idx="53">
                  <c:v>439</c:v>
                </c:pt>
                <c:pt idx="54">
                  <c:v>267</c:v>
                </c:pt>
                <c:pt idx="55">
                  <c:v>132</c:v>
                </c:pt>
                <c:pt idx="56">
                  <c:v>427</c:v>
                </c:pt>
                <c:pt idx="57">
                  <c:v>467</c:v>
                </c:pt>
                <c:pt idx="58">
                  <c:v>428</c:v>
                </c:pt>
                <c:pt idx="59">
                  <c:v>360</c:v>
                </c:pt>
                <c:pt idx="60">
                  <c:v>216</c:v>
                </c:pt>
                <c:pt idx="61">
                  <c:v>151</c:v>
                </c:pt>
                <c:pt idx="62">
                  <c:v>150</c:v>
                </c:pt>
                <c:pt idx="63">
                  <c:v>128</c:v>
                </c:pt>
                <c:pt idx="64">
                  <c:v>303</c:v>
                </c:pt>
                <c:pt idx="65">
                  <c:v>307</c:v>
                </c:pt>
                <c:pt idx="66">
                  <c:v>278</c:v>
                </c:pt>
                <c:pt idx="67">
                  <c:v>274</c:v>
                </c:pt>
                <c:pt idx="68">
                  <c:v>131</c:v>
                </c:pt>
                <c:pt idx="69">
                  <c:v>81</c:v>
                </c:pt>
                <c:pt idx="70">
                  <c:v>215</c:v>
                </c:pt>
                <c:pt idx="71">
                  <c:v>245</c:v>
                </c:pt>
                <c:pt idx="72">
                  <c:v>233</c:v>
                </c:pt>
                <c:pt idx="73">
                  <c:v>195</c:v>
                </c:pt>
                <c:pt idx="74">
                  <c:v>193</c:v>
                </c:pt>
                <c:pt idx="75">
                  <c:v>89</c:v>
                </c:pt>
                <c:pt idx="76">
                  <c:v>64</c:v>
                </c:pt>
                <c:pt idx="77">
                  <c:v>170</c:v>
                </c:pt>
                <c:pt idx="78">
                  <c:v>169</c:v>
                </c:pt>
                <c:pt idx="79">
                  <c:v>145</c:v>
                </c:pt>
                <c:pt idx="80">
                  <c:v>148</c:v>
                </c:pt>
                <c:pt idx="81">
                  <c:v>100</c:v>
                </c:pt>
                <c:pt idx="82">
                  <c:v>53</c:v>
                </c:pt>
                <c:pt idx="83">
                  <c:v>48</c:v>
                </c:pt>
                <c:pt idx="84">
                  <c:v>137</c:v>
                </c:pt>
                <c:pt idx="85">
                  <c:v>144</c:v>
                </c:pt>
                <c:pt idx="86">
                  <c:v>108</c:v>
                </c:pt>
                <c:pt idx="87">
                  <c:v>91</c:v>
                </c:pt>
                <c:pt idx="88">
                  <c:v>100</c:v>
                </c:pt>
                <c:pt idx="89">
                  <c:v>65</c:v>
                </c:pt>
                <c:pt idx="90">
                  <c:v>38</c:v>
                </c:pt>
                <c:pt idx="91">
                  <c:v>88</c:v>
                </c:pt>
                <c:pt idx="92">
                  <c:v>91</c:v>
                </c:pt>
                <c:pt idx="93">
                  <c:v>84</c:v>
                </c:pt>
                <c:pt idx="94">
                  <c:v>79</c:v>
                </c:pt>
                <c:pt idx="95">
                  <c:v>59</c:v>
                </c:pt>
                <c:pt idx="96">
                  <c:v>32</c:v>
                </c:pt>
                <c:pt idx="97">
                  <c:v>21</c:v>
                </c:pt>
                <c:pt idx="98">
                  <c:v>84</c:v>
                </c:pt>
                <c:pt idx="99">
                  <c:v>58</c:v>
                </c:pt>
                <c:pt idx="100">
                  <c:v>37</c:v>
                </c:pt>
                <c:pt idx="101">
                  <c:v>50</c:v>
                </c:pt>
                <c:pt idx="102">
                  <c:v>45</c:v>
                </c:pt>
                <c:pt idx="103">
                  <c:v>25</c:v>
                </c:pt>
                <c:pt idx="104">
                  <c:v>11</c:v>
                </c:pt>
                <c:pt idx="105">
                  <c:v>46</c:v>
                </c:pt>
                <c:pt idx="106">
                  <c:v>53</c:v>
                </c:pt>
                <c:pt idx="107">
                  <c:v>45</c:v>
                </c:pt>
                <c:pt idx="108">
                  <c:v>43</c:v>
                </c:pt>
                <c:pt idx="109">
                  <c:v>30</c:v>
                </c:pt>
                <c:pt idx="110">
                  <c:v>16</c:v>
                </c:pt>
                <c:pt idx="111">
                  <c:v>9</c:v>
                </c:pt>
                <c:pt idx="112">
                  <c:v>27</c:v>
                </c:pt>
                <c:pt idx="113">
                  <c:v>33</c:v>
                </c:pt>
                <c:pt idx="114">
                  <c:v>29</c:v>
                </c:pt>
                <c:pt idx="115">
                  <c:v>21</c:v>
                </c:pt>
                <c:pt idx="116">
                  <c:v>18</c:v>
                </c:pt>
                <c:pt idx="117">
                  <c:v>8</c:v>
                </c:pt>
                <c:pt idx="118">
                  <c:v>7</c:v>
                </c:pt>
                <c:pt idx="119">
                  <c:v>25</c:v>
                </c:pt>
                <c:pt idx="120">
                  <c:v>12</c:v>
                </c:pt>
                <c:pt idx="121">
                  <c:v>11</c:v>
                </c:pt>
                <c:pt idx="122">
                  <c:v>17</c:v>
                </c:pt>
                <c:pt idx="123">
                  <c:v>13</c:v>
                </c:pt>
                <c:pt idx="124">
                  <c:v>5</c:v>
                </c:pt>
                <c:pt idx="125">
                  <c:v>2</c:v>
                </c:pt>
                <c:pt idx="126">
                  <c:v>12</c:v>
                </c:pt>
                <c:pt idx="127">
                  <c:v>12</c:v>
                </c:pt>
                <c:pt idx="128">
                  <c:v>7</c:v>
                </c:pt>
                <c:pt idx="129">
                  <c:v>11</c:v>
                </c:pt>
                <c:pt idx="130">
                  <c:v>3</c:v>
                </c:pt>
                <c:pt idx="131">
                  <c:v>1</c:v>
                </c:pt>
                <c:pt idx="132">
                  <c:v>3</c:v>
                </c:pt>
                <c:pt idx="133">
                  <c:v>11</c:v>
                </c:pt>
                <c:pt idx="134">
                  <c:v>6</c:v>
                </c:pt>
                <c:pt idx="135">
                  <c:v>15</c:v>
                </c:pt>
                <c:pt idx="136">
                  <c:v>8</c:v>
                </c:pt>
                <c:pt idx="137">
                  <c:v>8</c:v>
                </c:pt>
                <c:pt idx="138">
                  <c:v>3</c:v>
                </c:pt>
                <c:pt idx="139">
                  <c:v>2</c:v>
                </c:pt>
                <c:pt idx="140">
                  <c:v>4</c:v>
                </c:pt>
                <c:pt idx="141">
                  <c:v>7</c:v>
                </c:pt>
                <c:pt idx="142">
                  <c:v>4</c:v>
                </c:pt>
                <c:pt idx="143">
                  <c:v>1</c:v>
                </c:pt>
                <c:pt idx="144">
                  <c:v>2</c:v>
                </c:pt>
                <c:pt idx="145">
                  <c:v>3</c:v>
                </c:pt>
                <c:pt idx="147">
                  <c:v>5</c:v>
                </c:pt>
                <c:pt idx="148">
                  <c:v>3</c:v>
                </c:pt>
                <c:pt idx="149">
                  <c:v>1</c:v>
                </c:pt>
                <c:pt idx="150">
                  <c:v>4</c:v>
                </c:pt>
                <c:pt idx="151">
                  <c:v>2</c:v>
                </c:pt>
                <c:pt idx="152">
                  <c:v>1</c:v>
                </c:pt>
                <c:pt idx="153">
                  <c:v>4</c:v>
                </c:pt>
                <c:pt idx="154">
                  <c:v>2</c:v>
                </c:pt>
                <c:pt idx="156">
                  <c:v>6</c:v>
                </c:pt>
                <c:pt idx="157">
                  <c:v>4</c:v>
                </c:pt>
                <c:pt idx="158">
                  <c:v>5</c:v>
                </c:pt>
                <c:pt idx="159">
                  <c:v>2</c:v>
                </c:pt>
                <c:pt idx="161">
                  <c:v>3</c:v>
                </c:pt>
                <c:pt idx="16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0F-4B56-9C79-478BA9376E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456</c:v>
                </c:pt>
                <c:pt idx="1">
                  <c:v>2481</c:v>
                </c:pt>
                <c:pt idx="2">
                  <c:v>2672</c:v>
                </c:pt>
                <c:pt idx="3">
                  <c:v>2521</c:v>
                </c:pt>
                <c:pt idx="4">
                  <c:v>2348</c:v>
                </c:pt>
                <c:pt idx="5">
                  <c:v>2216</c:v>
                </c:pt>
                <c:pt idx="6">
                  <c:v>2124</c:v>
                </c:pt>
                <c:pt idx="7">
                  <c:v>1879</c:v>
                </c:pt>
                <c:pt idx="8">
                  <c:v>1860</c:v>
                </c:pt>
                <c:pt idx="9">
                  <c:v>1979</c:v>
                </c:pt>
                <c:pt idx="10">
                  <c:v>1822</c:v>
                </c:pt>
                <c:pt idx="11">
                  <c:v>1714</c:v>
                </c:pt>
                <c:pt idx="12">
                  <c:v>1616</c:v>
                </c:pt>
                <c:pt idx="13">
                  <c:v>1522</c:v>
                </c:pt>
                <c:pt idx="14">
                  <c:v>1325</c:v>
                </c:pt>
                <c:pt idx="15">
                  <c:v>1310</c:v>
                </c:pt>
                <c:pt idx="16">
                  <c:v>1390</c:v>
                </c:pt>
                <c:pt idx="17">
                  <c:v>1254</c:v>
                </c:pt>
                <c:pt idx="18">
                  <c:v>1147</c:v>
                </c:pt>
                <c:pt idx="19">
                  <c:v>1057</c:v>
                </c:pt>
                <c:pt idx="20">
                  <c:v>1009</c:v>
                </c:pt>
                <c:pt idx="21">
                  <c:v>865</c:v>
                </c:pt>
                <c:pt idx="22">
                  <c:v>846</c:v>
                </c:pt>
                <c:pt idx="23">
                  <c:v>878</c:v>
                </c:pt>
                <c:pt idx="24">
                  <c:v>787</c:v>
                </c:pt>
                <c:pt idx="25">
                  <c:v>762</c:v>
                </c:pt>
                <c:pt idx="26">
                  <c:v>670</c:v>
                </c:pt>
                <c:pt idx="27">
                  <c:v>613</c:v>
                </c:pt>
                <c:pt idx="28">
                  <c:v>515</c:v>
                </c:pt>
                <c:pt idx="29">
                  <c:v>513</c:v>
                </c:pt>
                <c:pt idx="30">
                  <c:v>551</c:v>
                </c:pt>
                <c:pt idx="31">
                  <c:v>476</c:v>
                </c:pt>
                <c:pt idx="32">
                  <c:v>440</c:v>
                </c:pt>
                <c:pt idx="33">
                  <c:v>392</c:v>
                </c:pt>
                <c:pt idx="34">
                  <c:v>364</c:v>
                </c:pt>
                <c:pt idx="35">
                  <c:v>301</c:v>
                </c:pt>
                <c:pt idx="36">
                  <c:v>299</c:v>
                </c:pt>
                <c:pt idx="37">
                  <c:v>299</c:v>
                </c:pt>
                <c:pt idx="38">
                  <c:v>283</c:v>
                </c:pt>
                <c:pt idx="39">
                  <c:v>254</c:v>
                </c:pt>
                <c:pt idx="40">
                  <c:v>232</c:v>
                </c:pt>
                <c:pt idx="41">
                  <c:v>183</c:v>
                </c:pt>
                <c:pt idx="42">
                  <c:v>158</c:v>
                </c:pt>
                <c:pt idx="43">
                  <c:v>152</c:v>
                </c:pt>
                <c:pt idx="44">
                  <c:v>168</c:v>
                </c:pt>
                <c:pt idx="45">
                  <c:v>140</c:v>
                </c:pt>
                <c:pt idx="46">
                  <c:v>120</c:v>
                </c:pt>
                <c:pt idx="47">
                  <c:v>119</c:v>
                </c:pt>
                <c:pt idx="48">
                  <c:v>110</c:v>
                </c:pt>
                <c:pt idx="49">
                  <c:v>86</c:v>
                </c:pt>
                <c:pt idx="50">
                  <c:v>83</c:v>
                </c:pt>
                <c:pt idx="51">
                  <c:v>87</c:v>
                </c:pt>
                <c:pt idx="52">
                  <c:v>85</c:v>
                </c:pt>
                <c:pt idx="53">
                  <c:v>81</c:v>
                </c:pt>
                <c:pt idx="54">
                  <c:v>79</c:v>
                </c:pt>
                <c:pt idx="55">
                  <c:v>65</c:v>
                </c:pt>
                <c:pt idx="56">
                  <c:v>53</c:v>
                </c:pt>
                <c:pt idx="57">
                  <c:v>54</c:v>
                </c:pt>
                <c:pt idx="58">
                  <c:v>60</c:v>
                </c:pt>
                <c:pt idx="59">
                  <c:v>55</c:v>
                </c:pt>
                <c:pt idx="60">
                  <c:v>57</c:v>
                </c:pt>
                <c:pt idx="61">
                  <c:v>48</c:v>
                </c:pt>
                <c:pt idx="62">
                  <c:v>38</c:v>
                </c:pt>
                <c:pt idx="63">
                  <c:v>27</c:v>
                </c:pt>
                <c:pt idx="64">
                  <c:v>29</c:v>
                </c:pt>
                <c:pt idx="65">
                  <c:v>32</c:v>
                </c:pt>
                <c:pt idx="66">
                  <c:v>31</c:v>
                </c:pt>
                <c:pt idx="67">
                  <c:v>41</c:v>
                </c:pt>
                <c:pt idx="68">
                  <c:v>39</c:v>
                </c:pt>
                <c:pt idx="69">
                  <c:v>36</c:v>
                </c:pt>
                <c:pt idx="70">
                  <c:v>25</c:v>
                </c:pt>
                <c:pt idx="71">
                  <c:v>25</c:v>
                </c:pt>
                <c:pt idx="72">
                  <c:v>34</c:v>
                </c:pt>
                <c:pt idx="73">
                  <c:v>31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D4-49B5-8219-1318A4E830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502.82615079301877</c:v>
                </c:pt>
                <c:pt idx="32">
                  <c:v>465.44454499131621</c:v>
                </c:pt>
                <c:pt idx="33">
                  <c:v>430.63470350173083</c:v>
                </c:pt>
                <c:pt idx="34">
                  <c:v>397.92441638020136</c:v>
                </c:pt>
                <c:pt idx="35">
                  <c:v>367.65085148759994</c:v>
                </c:pt>
                <c:pt idx="36">
                  <c:v>340.55668736680252</c:v>
                </c:pt>
                <c:pt idx="37">
                  <c:v>315.42744916638338</c:v>
                </c:pt>
                <c:pt idx="38">
                  <c:v>291.20712875673195</c:v>
                </c:pt>
                <c:pt idx="39">
                  <c:v>268.36195862221638</c:v>
                </c:pt>
                <c:pt idx="40">
                  <c:v>247.00770742687581</c:v>
                </c:pt>
                <c:pt idx="41">
                  <c:v>227.11869602500252</c:v>
                </c:pt>
                <c:pt idx="42">
                  <c:v>209.12903255862668</c:v>
                </c:pt>
                <c:pt idx="43">
                  <c:v>192.87002923741076</c:v>
                </c:pt>
                <c:pt idx="44">
                  <c:v>177.56007747230865</c:v>
                </c:pt>
                <c:pt idx="45">
                  <c:v>162.80853550591686</c:v>
                </c:pt>
                <c:pt idx="46">
                  <c:v>149.02483968013385</c:v>
                </c:pt>
                <c:pt idx="47">
                  <c:v>136.23089620639243</c:v>
                </c:pt>
                <c:pt idx="48">
                  <c:v>124.3598255630603</c:v>
                </c:pt>
                <c:pt idx="49">
                  <c:v>113.33568154217264</c:v>
                </c:pt>
                <c:pt idx="50">
                  <c:v>103.20351147261255</c:v>
                </c:pt>
                <c:pt idx="51">
                  <c:v>93.61228851376535</c:v>
                </c:pt>
                <c:pt idx="52">
                  <c:v>84.605095515771893</c:v>
                </c:pt>
                <c:pt idx="53">
                  <c:v>76.208644947896431</c:v>
                </c:pt>
                <c:pt idx="54">
                  <c:v>68.342205845103308</c:v>
                </c:pt>
                <c:pt idx="55">
                  <c:v>60.959015384547733</c:v>
                </c:pt>
                <c:pt idx="56">
                  <c:v>54.053853708658629</c:v>
                </c:pt>
                <c:pt idx="57">
                  <c:v>47.655241352545289</c:v>
                </c:pt>
                <c:pt idx="58">
                  <c:v>41.561318615624046</c:v>
                </c:pt>
                <c:pt idx="59">
                  <c:v>35.954308724433453</c:v>
                </c:pt>
                <c:pt idx="60">
                  <c:v>30.67759358561889</c:v>
                </c:pt>
                <c:pt idx="61">
                  <c:v>25.678453536464563</c:v>
                </c:pt>
                <c:pt idx="62">
                  <c:v>20.964634800522497</c:v>
                </c:pt>
                <c:pt idx="63">
                  <c:v>16.632971968466009</c:v>
                </c:pt>
                <c:pt idx="64">
                  <c:v>12.567537457544914</c:v>
                </c:pt>
                <c:pt idx="65">
                  <c:v>8.7113642941920748</c:v>
                </c:pt>
                <c:pt idx="66">
                  <c:v>5.1209448104887887</c:v>
                </c:pt>
                <c:pt idx="67">
                  <c:v>1.79776314625380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1D4-49B5-8219-1318A4E830CC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D4-49B5-8219-1318A4E830CC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503.97789751512971</c:v>
                </c:pt>
                <c:pt idx="32">
                  <c:v>468.53803363752587</c:v>
                </c:pt>
                <c:pt idx="33">
                  <c:v>436.12426831847665</c:v>
                </c:pt>
                <c:pt idx="34">
                  <c:v>406.05947988694726</c:v>
                </c:pt>
                <c:pt idx="35">
                  <c:v>378.74513485070753</c:v>
                </c:pt>
                <c:pt idx="36">
                  <c:v>355.0596468544573</c:v>
                </c:pt>
                <c:pt idx="37">
                  <c:v>333.87344550647214</c:v>
                </c:pt>
                <c:pt idx="38">
                  <c:v>314.05975082707744</c:v>
                </c:pt>
                <c:pt idx="39">
                  <c:v>295.87129027434474</c:v>
                </c:pt>
                <c:pt idx="40">
                  <c:v>279.3250229769896</c:v>
                </c:pt>
                <c:pt idx="41">
                  <c:v>264.31671331592054</c:v>
                </c:pt>
                <c:pt idx="42">
                  <c:v>251.33573264781677</c:v>
                </c:pt>
                <c:pt idx="43">
                  <c:v>240.19736470249649</c:v>
                </c:pt>
                <c:pt idx="44">
                  <c:v>230.03076522160825</c:v>
                </c:pt>
                <c:pt idx="45">
                  <c:v>220.36490432488688</c:v>
                </c:pt>
                <c:pt idx="46">
                  <c:v>211.49647664260823</c:v>
                </c:pt>
                <c:pt idx="47">
                  <c:v>203.44413696782615</c:v>
                </c:pt>
                <c:pt idx="48">
                  <c:v>196.17625426863813</c:v>
                </c:pt>
                <c:pt idx="49">
                  <c:v>189.55929816541209</c:v>
                </c:pt>
                <c:pt idx="50">
                  <c:v>183.62183653489916</c:v>
                </c:pt>
                <c:pt idx="51">
                  <c:v>178.03615524894909</c:v>
                </c:pt>
                <c:pt idx="52">
                  <c:v>172.7808631729967</c:v>
                </c:pt>
                <c:pt idx="53">
                  <c:v>167.87358510048799</c:v>
                </c:pt>
                <c:pt idx="54">
                  <c:v>163.27744029427544</c:v>
                </c:pt>
                <c:pt idx="55">
                  <c:v>158.9340733921895</c:v>
                </c:pt>
                <c:pt idx="56">
                  <c:v>154.8466341994675</c:v>
                </c:pt>
                <c:pt idx="57">
                  <c:v>151.02137736615251</c:v>
                </c:pt>
                <c:pt idx="58">
                  <c:v>147.29323785213853</c:v>
                </c:pt>
                <c:pt idx="59">
                  <c:v>143.79862751718269</c:v>
                </c:pt>
                <c:pt idx="60">
                  <c:v>140.44985933126023</c:v>
                </c:pt>
                <c:pt idx="61">
                  <c:v>137.18829712889283</c:v>
                </c:pt>
                <c:pt idx="62">
                  <c:v>134.03132657393445</c:v>
                </c:pt>
                <c:pt idx="63">
                  <c:v>131.05546551805205</c:v>
                </c:pt>
                <c:pt idx="64">
                  <c:v>128.18436550493874</c:v>
                </c:pt>
                <c:pt idx="65">
                  <c:v>125.37929547769465</c:v>
                </c:pt>
                <c:pt idx="66">
                  <c:v>122.67780579780758</c:v>
                </c:pt>
                <c:pt idx="67">
                  <c:v>120.05678776835312</c:v>
                </c:pt>
                <c:pt idx="68">
                  <c:v>117.52946459370423</c:v>
                </c:pt>
                <c:pt idx="69">
                  <c:v>115.06716332279878</c:v>
                </c:pt>
                <c:pt idx="70">
                  <c:v>112.69502437738188</c:v>
                </c:pt>
                <c:pt idx="71">
                  <c:v>110.38080367324638</c:v>
                </c:pt>
                <c:pt idx="72">
                  <c:v>108.10055769962938</c:v>
                </c:pt>
                <c:pt idx="73">
                  <c:v>105.88592719014662</c:v>
                </c:pt>
                <c:pt idx="74">
                  <c:v>103.74873028981192</c:v>
                </c:pt>
                <c:pt idx="75">
                  <c:v>101.66126118829411</c:v>
                </c:pt>
                <c:pt idx="76">
                  <c:v>99.581150807324946</c:v>
                </c:pt>
                <c:pt idx="77">
                  <c:v>97.614035613730096</c:v>
                </c:pt>
                <c:pt idx="78">
                  <c:v>95.6641618877792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1D4-49B5-8219-1318A4E830CC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1D4-49B5-8219-1318A4E830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55</c:v>
                </c:pt>
                <c:pt idx="1">
                  <c:v>560</c:v>
                </c:pt>
                <c:pt idx="2">
                  <c:v>565</c:v>
                </c:pt>
                <c:pt idx="3">
                  <c:v>545</c:v>
                </c:pt>
                <c:pt idx="4">
                  <c:v>503</c:v>
                </c:pt>
                <c:pt idx="5">
                  <c:v>467</c:v>
                </c:pt>
                <c:pt idx="6">
                  <c:v>442</c:v>
                </c:pt>
                <c:pt idx="7">
                  <c:v>413</c:v>
                </c:pt>
                <c:pt idx="8">
                  <c:v>419</c:v>
                </c:pt>
                <c:pt idx="9">
                  <c:v>426</c:v>
                </c:pt>
                <c:pt idx="10">
                  <c:v>402</c:v>
                </c:pt>
                <c:pt idx="11">
                  <c:v>379</c:v>
                </c:pt>
                <c:pt idx="12">
                  <c:v>368</c:v>
                </c:pt>
                <c:pt idx="13">
                  <c:v>340</c:v>
                </c:pt>
                <c:pt idx="14">
                  <c:v>306</c:v>
                </c:pt>
                <c:pt idx="15">
                  <c:v>301</c:v>
                </c:pt>
                <c:pt idx="16">
                  <c:v>293</c:v>
                </c:pt>
                <c:pt idx="17">
                  <c:v>276</c:v>
                </c:pt>
                <c:pt idx="18">
                  <c:v>247</c:v>
                </c:pt>
                <c:pt idx="19">
                  <c:v>216</c:v>
                </c:pt>
                <c:pt idx="20">
                  <c:v>190</c:v>
                </c:pt>
                <c:pt idx="21">
                  <c:v>186</c:v>
                </c:pt>
                <c:pt idx="22">
                  <c:v>184</c:v>
                </c:pt>
                <c:pt idx="23">
                  <c:v>180</c:v>
                </c:pt>
                <c:pt idx="24">
                  <c:v>159</c:v>
                </c:pt>
                <c:pt idx="25">
                  <c:v>152</c:v>
                </c:pt>
                <c:pt idx="26">
                  <c:v>143</c:v>
                </c:pt>
                <c:pt idx="27">
                  <c:v>124</c:v>
                </c:pt>
                <c:pt idx="28">
                  <c:v>111</c:v>
                </c:pt>
                <c:pt idx="29">
                  <c:v>111</c:v>
                </c:pt>
                <c:pt idx="30">
                  <c:v>116</c:v>
                </c:pt>
                <c:pt idx="31">
                  <c:v>97</c:v>
                </c:pt>
                <c:pt idx="32">
                  <c:v>89</c:v>
                </c:pt>
                <c:pt idx="33">
                  <c:v>84</c:v>
                </c:pt>
                <c:pt idx="34">
                  <c:v>70</c:v>
                </c:pt>
                <c:pt idx="35">
                  <c:v>59</c:v>
                </c:pt>
                <c:pt idx="36">
                  <c:v>59</c:v>
                </c:pt>
                <c:pt idx="37">
                  <c:v>57</c:v>
                </c:pt>
                <c:pt idx="38">
                  <c:v>58</c:v>
                </c:pt>
                <c:pt idx="39">
                  <c:v>54</c:v>
                </c:pt>
                <c:pt idx="40">
                  <c:v>51</c:v>
                </c:pt>
                <c:pt idx="41">
                  <c:v>37</c:v>
                </c:pt>
                <c:pt idx="42">
                  <c:v>36</c:v>
                </c:pt>
                <c:pt idx="43">
                  <c:v>34</c:v>
                </c:pt>
                <c:pt idx="44">
                  <c:v>36</c:v>
                </c:pt>
                <c:pt idx="45">
                  <c:v>26</c:v>
                </c:pt>
                <c:pt idx="46">
                  <c:v>24</c:v>
                </c:pt>
                <c:pt idx="47">
                  <c:v>23</c:v>
                </c:pt>
                <c:pt idx="48">
                  <c:v>21</c:v>
                </c:pt>
                <c:pt idx="49">
                  <c:v>18</c:v>
                </c:pt>
                <c:pt idx="50">
                  <c:v>20</c:v>
                </c:pt>
                <c:pt idx="51">
                  <c:v>18</c:v>
                </c:pt>
                <c:pt idx="52">
                  <c:v>17</c:v>
                </c:pt>
                <c:pt idx="53">
                  <c:v>14</c:v>
                </c:pt>
                <c:pt idx="54">
                  <c:v>16</c:v>
                </c:pt>
                <c:pt idx="55">
                  <c:v>16</c:v>
                </c:pt>
                <c:pt idx="56">
                  <c:v>13</c:v>
                </c:pt>
                <c:pt idx="57">
                  <c:v>12</c:v>
                </c:pt>
                <c:pt idx="58">
                  <c:v>14</c:v>
                </c:pt>
                <c:pt idx="59">
                  <c:v>14</c:v>
                </c:pt>
                <c:pt idx="60">
                  <c:v>12</c:v>
                </c:pt>
                <c:pt idx="61">
                  <c:v>13</c:v>
                </c:pt>
                <c:pt idx="62">
                  <c:v>6</c:v>
                </c:pt>
                <c:pt idx="63">
                  <c:v>5</c:v>
                </c:pt>
                <c:pt idx="64">
                  <c:v>6</c:v>
                </c:pt>
                <c:pt idx="65">
                  <c:v>10</c:v>
                </c:pt>
                <c:pt idx="66">
                  <c:v>10</c:v>
                </c:pt>
                <c:pt idx="67">
                  <c:v>11</c:v>
                </c:pt>
                <c:pt idx="68">
                  <c:v>11</c:v>
                </c:pt>
                <c:pt idx="69">
                  <c:v>8</c:v>
                </c:pt>
                <c:pt idx="70">
                  <c:v>7</c:v>
                </c:pt>
                <c:pt idx="71">
                  <c:v>8</c:v>
                </c:pt>
                <c:pt idx="72">
                  <c:v>9</c:v>
                </c:pt>
                <c:pt idx="73">
                  <c:v>8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9D-4BC9-A108-960FC6115C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08.21605432753165</c:v>
                </c:pt>
                <c:pt idx="32">
                  <c:v>99.791412100607104</c:v>
                </c:pt>
                <c:pt idx="33">
                  <c:v>91.971402696727992</c:v>
                </c:pt>
                <c:pt idx="34">
                  <c:v>84.482604577250157</c:v>
                </c:pt>
                <c:pt idx="35">
                  <c:v>77.506805132118515</c:v>
                </c:pt>
                <c:pt idx="36">
                  <c:v>71.164896838215526</c:v>
                </c:pt>
                <c:pt idx="37">
                  <c:v>65.243038808012344</c:v>
                </c:pt>
                <c:pt idx="38">
                  <c:v>59.6828987529587</c:v>
                </c:pt>
                <c:pt idx="39">
                  <c:v>54.492189187720371</c:v>
                </c:pt>
                <c:pt idx="40">
                  <c:v>49.613094127429065</c:v>
                </c:pt>
                <c:pt idx="41">
                  <c:v>44.965345182831427</c:v>
                </c:pt>
                <c:pt idx="42">
                  <c:v>40.667103985955116</c:v>
                </c:pt>
                <c:pt idx="43">
                  <c:v>36.778024512549905</c:v>
                </c:pt>
                <c:pt idx="44">
                  <c:v>33.040102749907142</c:v>
                </c:pt>
                <c:pt idx="45">
                  <c:v>29.563642975284964</c:v>
                </c:pt>
                <c:pt idx="46">
                  <c:v>26.325259419531676</c:v>
                </c:pt>
                <c:pt idx="47">
                  <c:v>23.140514177045109</c:v>
                </c:pt>
                <c:pt idx="48">
                  <c:v>20.267273357580471</c:v>
                </c:pt>
                <c:pt idx="49">
                  <c:v>17.550897749233471</c:v>
                </c:pt>
                <c:pt idx="50">
                  <c:v>14.919728057211582</c:v>
                </c:pt>
                <c:pt idx="51">
                  <c:v>12.565902974766217</c:v>
                </c:pt>
                <c:pt idx="52">
                  <c:v>10.253795817869289</c:v>
                </c:pt>
                <c:pt idx="53">
                  <c:v>8.0900785025079589</c:v>
                </c:pt>
                <c:pt idx="54">
                  <c:v>6.0437248935750931</c:v>
                </c:pt>
                <c:pt idx="55">
                  <c:v>4.095745334807769</c:v>
                </c:pt>
                <c:pt idx="56">
                  <c:v>2.3387269157962685</c:v>
                </c:pt>
                <c:pt idx="57">
                  <c:v>0.624403343818140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29D-4BC9-A108-960FC6115C20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29D-4BC9-A108-960FC6115C20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08.34548855243033</c:v>
                </c:pt>
                <c:pt idx="32">
                  <c:v>100.15228081873907</c:v>
                </c:pt>
                <c:pt idx="33">
                  <c:v>92.641355156728565</c:v>
                </c:pt>
                <c:pt idx="34">
                  <c:v>85.521567177238978</c:v>
                </c:pt>
                <c:pt idx="35">
                  <c:v>78.982847483081741</c:v>
                </c:pt>
                <c:pt idx="36">
                  <c:v>73.160313180545074</c:v>
                </c:pt>
                <c:pt idx="37">
                  <c:v>67.855813169970048</c:v>
                </c:pt>
                <c:pt idx="38">
                  <c:v>63.006656143735079</c:v>
                </c:pt>
                <c:pt idx="39">
                  <c:v>58.598274993491799</c:v>
                </c:pt>
                <c:pt idx="40">
                  <c:v>54.560571246576174</c:v>
                </c:pt>
                <c:pt idx="41">
                  <c:v>50.80178195703148</c:v>
                </c:pt>
                <c:pt idx="42">
                  <c:v>47.439826811648516</c:v>
                </c:pt>
                <c:pt idx="43">
                  <c:v>44.52917332671425</c:v>
                </c:pt>
                <c:pt idx="44">
                  <c:v>41.797348782875602</c:v>
                </c:pt>
                <c:pt idx="45">
                  <c:v>39.341598644194377</c:v>
                </c:pt>
                <c:pt idx="46">
                  <c:v>37.122095235887706</c:v>
                </c:pt>
                <c:pt idx="47">
                  <c:v>34.948284832390748</c:v>
                </c:pt>
                <c:pt idx="48">
                  <c:v>33.07487178290053</c:v>
                </c:pt>
                <c:pt idx="49">
                  <c:v>31.336528040844186</c:v>
                </c:pt>
                <c:pt idx="50">
                  <c:v>29.655785584418879</c:v>
                </c:pt>
                <c:pt idx="51">
                  <c:v>28.224435855763673</c:v>
                </c:pt>
                <c:pt idx="52">
                  <c:v>26.796647704720801</c:v>
                </c:pt>
                <c:pt idx="53">
                  <c:v>25.475558714683402</c:v>
                </c:pt>
                <c:pt idx="54">
                  <c:v>24.232054498802331</c:v>
                </c:pt>
                <c:pt idx="55">
                  <c:v>23.043475848124832</c:v>
                </c:pt>
                <c:pt idx="56">
                  <c:v>22.001704661763686</c:v>
                </c:pt>
                <c:pt idx="57">
                  <c:v>20.955440726027199</c:v>
                </c:pt>
                <c:pt idx="58">
                  <c:v>20.001617993958373</c:v>
                </c:pt>
                <c:pt idx="59">
                  <c:v>19.07111450308215</c:v>
                </c:pt>
                <c:pt idx="60">
                  <c:v>18.204523725517966</c:v>
                </c:pt>
                <c:pt idx="61">
                  <c:v>17.382268420223649</c:v>
                </c:pt>
                <c:pt idx="62">
                  <c:v>16.566443338300235</c:v>
                </c:pt>
                <c:pt idx="63">
                  <c:v>15.7835763484322</c:v>
                </c:pt>
                <c:pt idx="64">
                  <c:v>15.03039444677526</c:v>
                </c:pt>
                <c:pt idx="65">
                  <c:v>14.326646123118909</c:v>
                </c:pt>
                <c:pt idx="66">
                  <c:v>13.631684047267145</c:v>
                </c:pt>
                <c:pt idx="67">
                  <c:v>12.975114007368836</c:v>
                </c:pt>
                <c:pt idx="68">
                  <c:v>12.346179967400063</c:v>
                </c:pt>
                <c:pt idx="69">
                  <c:v>11.725919097872161</c:v>
                </c:pt>
                <c:pt idx="70">
                  <c:v>11.125929486627189</c:v>
                </c:pt>
                <c:pt idx="71">
                  <c:v>10.547388393697098</c:v>
                </c:pt>
                <c:pt idx="72">
                  <c:v>9.9964870430889796</c:v>
                </c:pt>
                <c:pt idx="73">
                  <c:v>9.4551196317968191</c:v>
                </c:pt>
                <c:pt idx="74">
                  <c:v>8.9165794653803694</c:v>
                </c:pt>
                <c:pt idx="75">
                  <c:v>8.4241237718693718</c:v>
                </c:pt>
                <c:pt idx="76">
                  <c:v>7.9186102192141679</c:v>
                </c:pt>
                <c:pt idx="77">
                  <c:v>7.4517250390477496</c:v>
                </c:pt>
                <c:pt idx="78">
                  <c:v>6.98613533814322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29D-4BC9-A108-960FC6115C20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29D-4BC9-A108-960FC6115C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28</c:f>
              <c:numCache>
                <c:formatCode>m/d/yyyy</c:formatCode>
                <c:ptCount val="12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</c:numCache>
            </c:numRef>
          </c:cat>
          <c:val>
            <c:numRef>
              <c:f>Sheet1!$G$2:$G$128</c:f>
              <c:numCache>
                <c:formatCode>General</c:formatCode>
                <c:ptCount val="127"/>
                <c:pt idx="0">
                  <c:v>2456</c:v>
                </c:pt>
                <c:pt idx="1">
                  <c:v>2481</c:v>
                </c:pt>
                <c:pt idx="2">
                  <c:v>2672</c:v>
                </c:pt>
                <c:pt idx="3">
                  <c:v>2521</c:v>
                </c:pt>
                <c:pt idx="4">
                  <c:v>2348</c:v>
                </c:pt>
                <c:pt idx="5">
                  <c:v>2216</c:v>
                </c:pt>
                <c:pt idx="6">
                  <c:v>2124</c:v>
                </c:pt>
                <c:pt idx="7">
                  <c:v>1879</c:v>
                </c:pt>
                <c:pt idx="8">
                  <c:v>1860</c:v>
                </c:pt>
                <c:pt idx="9">
                  <c:v>1979</c:v>
                </c:pt>
                <c:pt idx="10">
                  <c:v>1822</c:v>
                </c:pt>
                <c:pt idx="11">
                  <c:v>1714</c:v>
                </c:pt>
                <c:pt idx="12">
                  <c:v>1616</c:v>
                </c:pt>
                <c:pt idx="13">
                  <c:v>1522</c:v>
                </c:pt>
                <c:pt idx="14">
                  <c:v>1325</c:v>
                </c:pt>
                <c:pt idx="15">
                  <c:v>1310</c:v>
                </c:pt>
                <c:pt idx="16">
                  <c:v>1390</c:v>
                </c:pt>
                <c:pt idx="17">
                  <c:v>1254</c:v>
                </c:pt>
                <c:pt idx="18">
                  <c:v>1147</c:v>
                </c:pt>
                <c:pt idx="19">
                  <c:v>1057</c:v>
                </c:pt>
                <c:pt idx="20">
                  <c:v>1009</c:v>
                </c:pt>
                <c:pt idx="21">
                  <c:v>865</c:v>
                </c:pt>
                <c:pt idx="22">
                  <c:v>846</c:v>
                </c:pt>
                <c:pt idx="23">
                  <c:v>878</c:v>
                </c:pt>
                <c:pt idx="24">
                  <c:v>787</c:v>
                </c:pt>
                <c:pt idx="25">
                  <c:v>762</c:v>
                </c:pt>
                <c:pt idx="26">
                  <c:v>670</c:v>
                </c:pt>
                <c:pt idx="27">
                  <c:v>613</c:v>
                </c:pt>
                <c:pt idx="28">
                  <c:v>515</c:v>
                </c:pt>
                <c:pt idx="29">
                  <c:v>513</c:v>
                </c:pt>
                <c:pt idx="30">
                  <c:v>551</c:v>
                </c:pt>
                <c:pt idx="31">
                  <c:v>476</c:v>
                </c:pt>
                <c:pt idx="32">
                  <c:v>440</c:v>
                </c:pt>
                <c:pt idx="33">
                  <c:v>392</c:v>
                </c:pt>
                <c:pt idx="34">
                  <c:v>364</c:v>
                </c:pt>
                <c:pt idx="35">
                  <c:v>301</c:v>
                </c:pt>
                <c:pt idx="36">
                  <c:v>299</c:v>
                </c:pt>
                <c:pt idx="37">
                  <c:v>299</c:v>
                </c:pt>
                <c:pt idx="38">
                  <c:v>283</c:v>
                </c:pt>
                <c:pt idx="39">
                  <c:v>254</c:v>
                </c:pt>
                <c:pt idx="40">
                  <c:v>232</c:v>
                </c:pt>
                <c:pt idx="41">
                  <c:v>183</c:v>
                </c:pt>
                <c:pt idx="42">
                  <c:v>158</c:v>
                </c:pt>
                <c:pt idx="43">
                  <c:v>152</c:v>
                </c:pt>
                <c:pt idx="44">
                  <c:v>168</c:v>
                </c:pt>
                <c:pt idx="45">
                  <c:v>140</c:v>
                </c:pt>
                <c:pt idx="46">
                  <c:v>120</c:v>
                </c:pt>
                <c:pt idx="47">
                  <c:v>119</c:v>
                </c:pt>
                <c:pt idx="48">
                  <c:v>110</c:v>
                </c:pt>
                <c:pt idx="49">
                  <c:v>86</c:v>
                </c:pt>
                <c:pt idx="50">
                  <c:v>83</c:v>
                </c:pt>
                <c:pt idx="51">
                  <c:v>87</c:v>
                </c:pt>
                <c:pt idx="52">
                  <c:v>85</c:v>
                </c:pt>
                <c:pt idx="53">
                  <c:v>81</c:v>
                </c:pt>
                <c:pt idx="54">
                  <c:v>79</c:v>
                </c:pt>
                <c:pt idx="55">
                  <c:v>65</c:v>
                </c:pt>
                <c:pt idx="56">
                  <c:v>53</c:v>
                </c:pt>
                <c:pt idx="57">
                  <c:v>54</c:v>
                </c:pt>
                <c:pt idx="58">
                  <c:v>60</c:v>
                </c:pt>
                <c:pt idx="59">
                  <c:v>55</c:v>
                </c:pt>
                <c:pt idx="60">
                  <c:v>58</c:v>
                </c:pt>
                <c:pt idx="61">
                  <c:v>48</c:v>
                </c:pt>
                <c:pt idx="62">
                  <c:v>38</c:v>
                </c:pt>
                <c:pt idx="63">
                  <c:v>27</c:v>
                </c:pt>
                <c:pt idx="64">
                  <c:v>29</c:v>
                </c:pt>
                <c:pt idx="65">
                  <c:v>32</c:v>
                </c:pt>
                <c:pt idx="66">
                  <c:v>31</c:v>
                </c:pt>
                <c:pt idx="67">
                  <c:v>41</c:v>
                </c:pt>
                <c:pt idx="68">
                  <c:v>39</c:v>
                </c:pt>
                <c:pt idx="69">
                  <c:v>36</c:v>
                </c:pt>
                <c:pt idx="70">
                  <c:v>26</c:v>
                </c:pt>
                <c:pt idx="71">
                  <c:v>26</c:v>
                </c:pt>
                <c:pt idx="72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8</c:f>
              <c:numCache>
                <c:formatCode>m/d/yyyy</c:formatCode>
                <c:ptCount val="12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</c:numCache>
            </c:numRef>
          </c:cat>
          <c:val>
            <c:numRef>
              <c:f>Sheet1!$C$2:$C$128</c:f>
              <c:numCache>
                <c:formatCode>General</c:formatCode>
                <c:ptCount val="127"/>
                <c:pt idx="0">
                  <c:v>2744.4409480921267</c:v>
                </c:pt>
                <c:pt idx="1">
                  <c:v>2598.4864312411491</c:v>
                </c:pt>
                <c:pt idx="2">
                  <c:v>2460.1120158242484</c:v>
                </c:pt>
                <c:pt idx="3">
                  <c:v>2327.5574060690005</c:v>
                </c:pt>
                <c:pt idx="4">
                  <c:v>2201.3465462161239</c:v>
                </c:pt>
                <c:pt idx="5">
                  <c:v>2079.9813165237711</c:v>
                </c:pt>
                <c:pt idx="6">
                  <c:v>1961.9858739693361</c:v>
                </c:pt>
                <c:pt idx="7">
                  <c:v>1848.2570707010016</c:v>
                </c:pt>
                <c:pt idx="8">
                  <c:v>1739.7225211859954</c:v>
                </c:pt>
                <c:pt idx="9">
                  <c:v>1635.2242146115354</c:v>
                </c:pt>
                <c:pt idx="10">
                  <c:v>1535.5058763651023</c:v>
                </c:pt>
                <c:pt idx="11">
                  <c:v>1441.6936224725391</c:v>
                </c:pt>
                <c:pt idx="12">
                  <c:v>1353.84540086331</c:v>
                </c:pt>
                <c:pt idx="13">
                  <c:v>1271.9398097046069</c:v>
                </c:pt>
                <c:pt idx="14">
                  <c:v>1195.803132099692</c:v>
                </c:pt>
                <c:pt idx="15">
                  <c:v>1124.6353428372063</c:v>
                </c:pt>
                <c:pt idx="16">
                  <c:v>1057.0912221249343</c:v>
                </c:pt>
                <c:pt idx="17">
                  <c:v>993.01618708564433</c:v>
                </c:pt>
                <c:pt idx="18">
                  <c:v>932.22094747312212</c:v>
                </c:pt>
                <c:pt idx="19">
                  <c:v>874.89969406294085</c:v>
                </c:pt>
                <c:pt idx="20">
                  <c:v>821.28247408174434</c:v>
                </c:pt>
                <c:pt idx="21">
                  <c:v>771.46942377116102</c:v>
                </c:pt>
                <c:pt idx="22">
                  <c:v>725.19393898047065</c:v>
                </c:pt>
                <c:pt idx="23">
                  <c:v>681.73022127481727</c:v>
                </c:pt>
                <c:pt idx="24">
                  <c:v>640.95803873380714</c:v>
                </c:pt>
                <c:pt idx="25">
                  <c:v>602.55282170833004</c:v>
                </c:pt>
                <c:pt idx="26">
                  <c:v>566.30337565589696</c:v>
                </c:pt>
                <c:pt idx="27">
                  <c:v>532.1446228526072</c:v>
                </c:pt>
                <c:pt idx="28">
                  <c:v>500.1508069200018</c:v>
                </c:pt>
                <c:pt idx="29">
                  <c:v>470.11614234999894</c:v>
                </c:pt>
                <c:pt idx="30">
                  <c:v>441.96367923113434</c:v>
                </c:pt>
                <c:pt idx="31">
                  <c:v>415.45814122699687</c:v>
                </c:pt>
                <c:pt idx="32">
                  <c:v>390.52477521568784</c:v>
                </c:pt>
                <c:pt idx="33">
                  <c:v>367.03407504654967</c:v>
                </c:pt>
                <c:pt idx="34">
                  <c:v>344.92487041167311</c:v>
                </c:pt>
                <c:pt idx="35">
                  <c:v>324.14107382375732</c:v>
                </c:pt>
                <c:pt idx="36">
                  <c:v>304.61642784463254</c:v>
                </c:pt>
                <c:pt idx="37">
                  <c:v>286.25842583963356</c:v>
                </c:pt>
                <c:pt idx="38">
                  <c:v>269.06099869236465</c:v>
                </c:pt>
                <c:pt idx="39">
                  <c:v>252.99333852935249</c:v>
                </c:pt>
                <c:pt idx="40">
                  <c:v>237.99545360576991</c:v>
                </c:pt>
                <c:pt idx="41">
                  <c:v>224.04759010540653</c:v>
                </c:pt>
                <c:pt idx="42">
                  <c:v>211.12796704763622</c:v>
                </c:pt>
                <c:pt idx="43">
                  <c:v>199.17880419731111</c:v>
                </c:pt>
                <c:pt idx="44">
                  <c:v>188.14469544361236</c:v>
                </c:pt>
                <c:pt idx="45">
                  <c:v>177.95058573500316</c:v>
                </c:pt>
                <c:pt idx="46">
                  <c:v>168.52760457893251</c:v>
                </c:pt>
                <c:pt idx="47">
                  <c:v>159.8055660931218</c:v>
                </c:pt>
                <c:pt idx="48">
                  <c:v>151.74505284033469</c:v>
                </c:pt>
                <c:pt idx="49">
                  <c:v>144.3148797439255</c:v>
                </c:pt>
                <c:pt idx="50">
                  <c:v>137.47202625579533</c:v>
                </c:pt>
                <c:pt idx="51">
                  <c:v>131.15062573348547</c:v>
                </c:pt>
                <c:pt idx="52">
                  <c:v>125.30370058744118</c:v>
                </c:pt>
                <c:pt idx="53">
                  <c:v>119.86183076193154</c:v>
                </c:pt>
                <c:pt idx="54">
                  <c:v>114.7668870074599</c:v>
                </c:pt>
                <c:pt idx="55">
                  <c:v>109.98526605855835</c:v>
                </c:pt>
                <c:pt idx="56">
                  <c:v>105.509540063831</c:v>
                </c:pt>
                <c:pt idx="57">
                  <c:v>101.30029673244914</c:v>
                </c:pt>
                <c:pt idx="58">
                  <c:v>97.577021294696507</c:v>
                </c:pt>
                <c:pt idx="59">
                  <c:v>94.480829557999527</c:v>
                </c:pt>
                <c:pt idx="60">
                  <c:v>92.062077237750714</c:v>
                </c:pt>
                <c:pt idx="61">
                  <c:v>90.330164062994356</c:v>
                </c:pt>
                <c:pt idx="62">
                  <c:v>89.278671235786788</c:v>
                </c:pt>
                <c:pt idx="63">
                  <c:v>88.892999113456938</c:v>
                </c:pt>
                <c:pt idx="64">
                  <c:v>89.154280330173265</c:v>
                </c:pt>
                <c:pt idx="65">
                  <c:v>90.03911197676365</c:v>
                </c:pt>
                <c:pt idx="66">
                  <c:v>91.515834988342306</c:v>
                </c:pt>
                <c:pt idx="67">
                  <c:v>93.546598959501665</c:v>
                </c:pt>
                <c:pt idx="68">
                  <c:v>96.086452191498324</c:v>
                </c:pt>
                <c:pt idx="69">
                  <c:v>99.122029212426014</c:v>
                </c:pt>
                <c:pt idx="70">
                  <c:v>102.6259008548018</c:v>
                </c:pt>
                <c:pt idx="71">
                  <c:v>106.55695407111148</c:v>
                </c:pt>
                <c:pt idx="72">
                  <c:v>110.86600331051091</c:v>
                </c:pt>
                <c:pt idx="73">
                  <c:v>115.49908751431417</c:v>
                </c:pt>
                <c:pt idx="74">
                  <c:v>120.40140548861768</c:v>
                </c:pt>
                <c:pt idx="75">
                  <c:v>125.5205622677089</c:v>
                </c:pt>
                <c:pt idx="76">
                  <c:v>130.80768749131101</c:v>
                </c:pt>
                <c:pt idx="77">
                  <c:v>136.21760925402052</c:v>
                </c:pt>
                <c:pt idx="78">
                  <c:v>141.70865213826613</c:v>
                </c:pt>
                <c:pt idx="79">
                  <c:v>147.2417416453988</c:v>
                </c:pt>
                <c:pt idx="80">
                  <c:v>152.78023088114105</c:v>
                </c:pt>
                <c:pt idx="81">
                  <c:v>158.29223613514597</c:v>
                </c:pt>
                <c:pt idx="82">
                  <c:v>163.75145126278187</c:v>
                </c:pt>
                <c:pt idx="83">
                  <c:v>169.13661231600517</c:v>
                </c:pt>
                <c:pt idx="84">
                  <c:v>174.43043592239394</c:v>
                </c:pt>
                <c:pt idx="85">
                  <c:v>179.61966945994186</c:v>
                </c:pt>
                <c:pt idx="86">
                  <c:v>184.69458001228924</c:v>
                </c:pt>
                <c:pt idx="87">
                  <c:v>189.64835966352561</c:v>
                </c:pt>
                <c:pt idx="88">
                  <c:v>194.47678379442084</c:v>
                </c:pt>
                <c:pt idx="89">
                  <c:v>199.17737561969238</c:v>
                </c:pt>
                <c:pt idx="90">
                  <c:v>203.74928815015403</c:v>
                </c:pt>
                <c:pt idx="91">
                  <c:v>208.19304310559755</c:v>
                </c:pt>
                <c:pt idx="92">
                  <c:v>212.51049613362741</c:v>
                </c:pt>
                <c:pt idx="93">
                  <c:v>216.70485312411472</c:v>
                </c:pt>
                <c:pt idx="94">
                  <c:v>220.78023095008535</c:v>
                </c:pt>
                <c:pt idx="95">
                  <c:v>224.74136616866593</c:v>
                </c:pt>
                <c:pt idx="96">
                  <c:v>228.5934795178876</c:v>
                </c:pt>
                <c:pt idx="97">
                  <c:v>232.34209129577346</c:v>
                </c:pt>
                <c:pt idx="98">
                  <c:v>235.99280859236717</c:v>
                </c:pt>
                <c:pt idx="99">
                  <c:v>239.55127898174155</c:v>
                </c:pt>
                <c:pt idx="100">
                  <c:v>243.02268845105306</c:v>
                </c:pt>
                <c:pt idx="101">
                  <c:v>246.41186011777691</c:v>
                </c:pt>
                <c:pt idx="102">
                  <c:v>249.72329648690732</c:v>
                </c:pt>
                <c:pt idx="103">
                  <c:v>252.9612334799331</c:v>
                </c:pt>
                <c:pt idx="104">
                  <c:v>256.12959507796842</c:v>
                </c:pt>
                <c:pt idx="105">
                  <c:v>259.23193191448934</c:v>
                </c:pt>
                <c:pt idx="106">
                  <c:v>262.27136029573143</c:v>
                </c:pt>
                <c:pt idx="107">
                  <c:v>265.2505627652061</c:v>
                </c:pt>
                <c:pt idx="108">
                  <c:v>268.17176841710591</c:v>
                </c:pt>
                <c:pt idx="109">
                  <c:v>271.0367461425127</c:v>
                </c:pt>
                <c:pt idx="110">
                  <c:v>273.84688518798646</c:v>
                </c:pt>
                <c:pt idx="111">
                  <c:v>276.60326902945781</c:v>
                </c:pt>
                <c:pt idx="112">
                  <c:v>279.30671383984401</c:v>
                </c:pt>
                <c:pt idx="113">
                  <c:v>281.95776456352081</c:v>
                </c:pt>
                <c:pt idx="114">
                  <c:v>284.55666796513003</c:v>
                </c:pt>
                <c:pt idx="115">
                  <c:v>287.10340476945828</c:v>
                </c:pt>
                <c:pt idx="116">
                  <c:v>289.59787590117088</c:v>
                </c:pt>
                <c:pt idx="117">
                  <c:v>292.03987089975573</c:v>
                </c:pt>
                <c:pt idx="118">
                  <c:v>294.42906994815962</c:v>
                </c:pt>
                <c:pt idx="119">
                  <c:v>296.76509856010563</c:v>
                </c:pt>
                <c:pt idx="120">
                  <c:v>299.04753815635786</c:v>
                </c:pt>
                <c:pt idx="121">
                  <c:v>301.27616389098216</c:v>
                </c:pt>
                <c:pt idx="122">
                  <c:v>303.45090955310587</c:v>
                </c:pt>
                <c:pt idx="123">
                  <c:v>305.57185414347327</c:v>
                </c:pt>
                <c:pt idx="124">
                  <c:v>307.63921451654051</c:v>
                </c:pt>
                <c:pt idx="125">
                  <c:v>309.6533583226028</c:v>
                </c:pt>
                <c:pt idx="126">
                  <c:v>311.614810145359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A$2:$A$128</c:f>
              <c:numCache>
                <c:formatCode>m/d/yyyy</c:formatCode>
                <c:ptCount val="12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</c:numCache>
            </c:numRef>
          </c:cat>
          <c:val>
            <c:numRef>
              <c:f>Sheet1!$D$2:$D$128</c:f>
              <c:numCache>
                <c:formatCode>General</c:formatCode>
                <c:ptCount val="127"/>
                <c:pt idx="0">
                  <c:v>2744.4409480921267</c:v>
                </c:pt>
                <c:pt idx="1">
                  <c:v>2598.4864312411491</c:v>
                </c:pt>
                <c:pt idx="2">
                  <c:v>2460.1120158242484</c:v>
                </c:pt>
                <c:pt idx="3">
                  <c:v>2327.5574060690005</c:v>
                </c:pt>
                <c:pt idx="4">
                  <c:v>2201.3465462161239</c:v>
                </c:pt>
                <c:pt idx="5">
                  <c:v>2079.9813165237711</c:v>
                </c:pt>
                <c:pt idx="6">
                  <c:v>1961.9858739693361</c:v>
                </c:pt>
                <c:pt idx="7">
                  <c:v>1848.2570707010016</c:v>
                </c:pt>
                <c:pt idx="8">
                  <c:v>1739.7225211859954</c:v>
                </c:pt>
                <c:pt idx="9">
                  <c:v>1635.2242146115354</c:v>
                </c:pt>
                <c:pt idx="10">
                  <c:v>1535.5058763651023</c:v>
                </c:pt>
                <c:pt idx="11">
                  <c:v>1441.6936224725391</c:v>
                </c:pt>
                <c:pt idx="12">
                  <c:v>1353.84540086331</c:v>
                </c:pt>
                <c:pt idx="13">
                  <c:v>1271.9398097046069</c:v>
                </c:pt>
                <c:pt idx="14">
                  <c:v>1195.803132099692</c:v>
                </c:pt>
                <c:pt idx="15">
                  <c:v>1124.6353428372063</c:v>
                </c:pt>
                <c:pt idx="16">
                  <c:v>1057.0912221249343</c:v>
                </c:pt>
                <c:pt idx="17">
                  <c:v>993.01618708564433</c:v>
                </c:pt>
                <c:pt idx="18">
                  <c:v>932.22094747312212</c:v>
                </c:pt>
                <c:pt idx="19">
                  <c:v>874.89969406294085</c:v>
                </c:pt>
                <c:pt idx="20">
                  <c:v>821.28247408174434</c:v>
                </c:pt>
                <c:pt idx="21">
                  <c:v>771.46942377116102</c:v>
                </c:pt>
                <c:pt idx="22">
                  <c:v>725.19393898047065</c:v>
                </c:pt>
                <c:pt idx="23">
                  <c:v>681.73022127481727</c:v>
                </c:pt>
                <c:pt idx="24">
                  <c:v>640.95803873380714</c:v>
                </c:pt>
                <c:pt idx="25">
                  <c:v>602.55282170833004</c:v>
                </c:pt>
                <c:pt idx="26">
                  <c:v>566.30337565589696</c:v>
                </c:pt>
                <c:pt idx="27">
                  <c:v>532.1446228526072</c:v>
                </c:pt>
                <c:pt idx="28">
                  <c:v>500.1508069200018</c:v>
                </c:pt>
                <c:pt idx="29">
                  <c:v>470.11614234999894</c:v>
                </c:pt>
                <c:pt idx="30">
                  <c:v>441.96367923113434</c:v>
                </c:pt>
                <c:pt idx="31">
                  <c:v>415.45814122699687</c:v>
                </c:pt>
                <c:pt idx="32">
                  <c:v>390.52477521568784</c:v>
                </c:pt>
                <c:pt idx="33">
                  <c:v>367.03407504654967</c:v>
                </c:pt>
                <c:pt idx="34">
                  <c:v>344.92487041167311</c:v>
                </c:pt>
                <c:pt idx="35">
                  <c:v>324.14107382375732</c:v>
                </c:pt>
                <c:pt idx="36">
                  <c:v>304.61642784463254</c:v>
                </c:pt>
                <c:pt idx="37">
                  <c:v>286.25842583963356</c:v>
                </c:pt>
                <c:pt idx="38">
                  <c:v>269.06099869236465</c:v>
                </c:pt>
                <c:pt idx="39">
                  <c:v>252.99333852935249</c:v>
                </c:pt>
                <c:pt idx="40">
                  <c:v>237.99545360576991</c:v>
                </c:pt>
                <c:pt idx="41">
                  <c:v>224.04759010540653</c:v>
                </c:pt>
                <c:pt idx="42">
                  <c:v>211.12796704763622</c:v>
                </c:pt>
                <c:pt idx="43">
                  <c:v>199.17880419731111</c:v>
                </c:pt>
                <c:pt idx="44">
                  <c:v>188.14469544361236</c:v>
                </c:pt>
                <c:pt idx="45">
                  <c:v>177.95058573500316</c:v>
                </c:pt>
                <c:pt idx="46">
                  <c:v>168.52760457893251</c:v>
                </c:pt>
                <c:pt idx="47">
                  <c:v>159.8055660931218</c:v>
                </c:pt>
                <c:pt idx="48">
                  <c:v>151.74505284033469</c:v>
                </c:pt>
                <c:pt idx="49">
                  <c:v>144.3148797439255</c:v>
                </c:pt>
                <c:pt idx="50">
                  <c:v>137.47202625579533</c:v>
                </c:pt>
                <c:pt idx="51">
                  <c:v>131.15062573348547</c:v>
                </c:pt>
                <c:pt idx="52">
                  <c:v>125.30370058744118</c:v>
                </c:pt>
                <c:pt idx="53">
                  <c:v>119.86183076193154</c:v>
                </c:pt>
                <c:pt idx="54">
                  <c:v>114.7668870074599</c:v>
                </c:pt>
                <c:pt idx="55">
                  <c:v>109.98526605855835</c:v>
                </c:pt>
                <c:pt idx="56">
                  <c:v>105.509540063831</c:v>
                </c:pt>
                <c:pt idx="57">
                  <c:v>101.30029673244914</c:v>
                </c:pt>
                <c:pt idx="58">
                  <c:v>97.577021294696507</c:v>
                </c:pt>
                <c:pt idx="59">
                  <c:v>94.554329095363244</c:v>
                </c:pt>
                <c:pt idx="60">
                  <c:v>92.333048867071625</c:v>
                </c:pt>
                <c:pt idx="61">
                  <c:v>90.95533118896833</c:v>
                </c:pt>
                <c:pt idx="62">
                  <c:v>90.440577424514117</c:v>
                </c:pt>
                <c:pt idx="63">
                  <c:v>90.797807340782498</c:v>
                </c:pt>
                <c:pt idx="64">
                  <c:v>92.031867265209939</c:v>
                </c:pt>
                <c:pt idx="65">
                  <c:v>94.143399364303491</c:v>
                </c:pt>
                <c:pt idx="66">
                  <c:v>97.12431255889058</c:v>
                </c:pt>
                <c:pt idx="67">
                  <c:v>100.9581128613498</c:v>
                </c:pt>
                <c:pt idx="68">
                  <c:v>105.61915861379232</c:v>
                </c:pt>
                <c:pt idx="69">
                  <c:v>111.13081149917741</c:v>
                </c:pt>
                <c:pt idx="70">
                  <c:v>117.49510936326024</c:v>
                </c:pt>
                <c:pt idx="71">
                  <c:v>124.69105491758768</c:v>
                </c:pt>
                <c:pt idx="72">
                  <c:v>132.68311721692365</c:v>
                </c:pt>
                <c:pt idx="73">
                  <c:v>141.426310018104</c:v>
                </c:pt>
                <c:pt idx="74">
                  <c:v>150.87135371574044</c:v>
                </c:pt>
                <c:pt idx="75">
                  <c:v>160.96915865959261</c:v>
                </c:pt>
                <c:pt idx="76">
                  <c:v>171.67254864742756</c:v>
                </c:pt>
                <c:pt idx="77">
                  <c:v>182.93696050555351</c:v>
                </c:pt>
                <c:pt idx="78">
                  <c:v>194.7206529322803</c:v>
                </c:pt>
                <c:pt idx="79">
                  <c:v>206.98373347358495</c:v>
                </c:pt>
                <c:pt idx="80">
                  <c:v>219.68757960087595</c:v>
                </c:pt>
                <c:pt idx="81">
                  <c:v>232.79803637472432</c:v>
                </c:pt>
                <c:pt idx="82">
                  <c:v>246.28705384313727</c:v>
                </c:pt>
                <c:pt idx="83">
                  <c:v>260.1324136486902</c:v>
                </c:pt>
                <c:pt idx="84">
                  <c:v>274.31667008414956</c:v>
                </c:pt>
                <c:pt idx="85">
                  <c:v>288.82724465316966</c:v>
                </c:pt>
                <c:pt idx="86">
                  <c:v>303.6560837108749</c:v>
                </c:pt>
                <c:pt idx="87">
                  <c:v>318.7989235655109</c:v>
                </c:pt>
                <c:pt idx="88">
                  <c:v>334.25500048259437</c:v>
                </c:pt>
                <c:pt idx="89">
                  <c:v>350.02608841571549</c:v>
                </c:pt>
                <c:pt idx="90">
                  <c:v>366.11625747560925</c:v>
                </c:pt>
                <c:pt idx="91">
                  <c:v>382.53166530180448</c:v>
                </c:pt>
                <c:pt idx="92">
                  <c:v>399.2806392896735</c:v>
                </c:pt>
                <c:pt idx="93">
                  <c:v>416.37398209521916</c:v>
                </c:pt>
                <c:pt idx="94">
                  <c:v>433.82430722710779</c:v>
                </c:pt>
                <c:pt idx="95">
                  <c:v>451.64564257958654</c:v>
                </c:pt>
                <c:pt idx="96">
                  <c:v>469.85327870636081</c:v>
                </c:pt>
                <c:pt idx="97">
                  <c:v>488.46354182755096</c:v>
                </c:pt>
                <c:pt idx="98">
                  <c:v>507.49355690688026</c:v>
                </c:pt>
                <c:pt idx="99">
                  <c:v>526.9611642020252</c:v>
                </c:pt>
                <c:pt idx="100">
                  <c:v>546.88356341222448</c:v>
                </c:pt>
                <c:pt idx="101">
                  <c:v>567.27759486559512</c:v>
                </c:pt>
                <c:pt idx="102">
                  <c:v>588.15978433716862</c:v>
                </c:pt>
                <c:pt idx="103">
                  <c:v>609.54654039393972</c:v>
                </c:pt>
                <c:pt idx="104">
                  <c:v>631.45408012515441</c:v>
                </c:pt>
                <c:pt idx="105">
                  <c:v>653.89817275311839</c:v>
                </c:pt>
                <c:pt idx="106">
                  <c:v>676.89391981883273</c:v>
                </c:pt>
                <c:pt idx="107">
                  <c:v>700.45566068864355</c:v>
                </c:pt>
                <c:pt idx="108">
                  <c:v>724.59689472918808</c:v>
                </c:pt>
                <c:pt idx="109">
                  <c:v>749.33021105443913</c:v>
                </c:pt>
                <c:pt idx="110">
                  <c:v>774.66734058057534</c:v>
                </c:pt>
                <c:pt idx="111">
                  <c:v>800.61919576601042</c:v>
                </c:pt>
                <c:pt idx="112">
                  <c:v>827.19586671606453</c:v>
                </c:pt>
                <c:pt idx="113">
                  <c:v>854.40656101199977</c:v>
                </c:pt>
                <c:pt idx="114">
                  <c:v>882.25950207948131</c:v>
                </c:pt>
                <c:pt idx="115">
                  <c:v>910.76188865614961</c:v>
                </c:pt>
                <c:pt idx="116">
                  <c:v>939.92067173221187</c:v>
                </c:pt>
                <c:pt idx="117">
                  <c:v>969.74232627305446</c:v>
                </c:pt>
                <c:pt idx="118">
                  <c:v>1000.23275840792</c:v>
                </c:pt>
                <c:pt idx="119">
                  <c:v>1031.3973725295696</c:v>
                </c:pt>
                <c:pt idx="120">
                  <c:v>1063.241134301044</c:v>
                </c:pt>
                <c:pt idx="121">
                  <c:v>1095.76974521185</c:v>
                </c:pt>
                <c:pt idx="122">
                  <c:v>1128.9894386828032</c:v>
                </c:pt>
                <c:pt idx="123">
                  <c:v>1162.9069277778003</c:v>
                </c:pt>
                <c:pt idx="124">
                  <c:v>1197.5294559001504</c:v>
                </c:pt>
                <c:pt idx="125">
                  <c:v>1232.8649048286361</c:v>
                </c:pt>
                <c:pt idx="126">
                  <c:v>1268.92189273981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28</c:f>
              <c:numCache>
                <c:formatCode>m/d/yyyy</c:formatCode>
                <c:ptCount val="12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</c:numCache>
            </c:numRef>
          </c:cat>
          <c:val>
            <c:numRef>
              <c:f>Sheet1!$F$2:$F$128</c:f>
              <c:numCache>
                <c:formatCode>General</c:formatCode>
                <c:ptCount val="127"/>
                <c:pt idx="0">
                  <c:v>2744.4409480921267</c:v>
                </c:pt>
                <c:pt idx="1">
                  <c:v>2598.4864312411491</c:v>
                </c:pt>
                <c:pt idx="2">
                  <c:v>2460.1120158242484</c:v>
                </c:pt>
                <c:pt idx="3">
                  <c:v>2327.5574060690005</c:v>
                </c:pt>
                <c:pt idx="4">
                  <c:v>2201.3465462161239</c:v>
                </c:pt>
                <c:pt idx="5">
                  <c:v>2079.9813165237711</c:v>
                </c:pt>
                <c:pt idx="6">
                  <c:v>1961.9858739693361</c:v>
                </c:pt>
                <c:pt idx="7">
                  <c:v>1848.2570707010016</c:v>
                </c:pt>
                <c:pt idx="8">
                  <c:v>1739.7225211859954</c:v>
                </c:pt>
                <c:pt idx="9">
                  <c:v>1635.2242146115354</c:v>
                </c:pt>
                <c:pt idx="10">
                  <c:v>1535.5058763651023</c:v>
                </c:pt>
                <c:pt idx="11">
                  <c:v>1441.6936224725391</c:v>
                </c:pt>
                <c:pt idx="12">
                  <c:v>1353.84540086331</c:v>
                </c:pt>
                <c:pt idx="13">
                  <c:v>1271.9398097046069</c:v>
                </c:pt>
                <c:pt idx="14">
                  <c:v>1195.803132099692</c:v>
                </c:pt>
                <c:pt idx="15">
                  <c:v>1124.6353428372063</c:v>
                </c:pt>
                <c:pt idx="16">
                  <c:v>1057.0912221249343</c:v>
                </c:pt>
                <c:pt idx="17">
                  <c:v>993.01618708564433</c:v>
                </c:pt>
                <c:pt idx="18">
                  <c:v>932.22094747312212</c:v>
                </c:pt>
                <c:pt idx="19">
                  <c:v>874.89969406294085</c:v>
                </c:pt>
                <c:pt idx="20">
                  <c:v>821.28247408174434</c:v>
                </c:pt>
                <c:pt idx="21">
                  <c:v>771.46942377116102</c:v>
                </c:pt>
                <c:pt idx="22">
                  <c:v>725.19393898047065</c:v>
                </c:pt>
                <c:pt idx="23">
                  <c:v>681.73022127481727</c:v>
                </c:pt>
                <c:pt idx="24">
                  <c:v>640.95803873380714</c:v>
                </c:pt>
                <c:pt idx="25">
                  <c:v>602.55282170833004</c:v>
                </c:pt>
                <c:pt idx="26">
                  <c:v>566.30337565589696</c:v>
                </c:pt>
                <c:pt idx="27">
                  <c:v>532.1446228526072</c:v>
                </c:pt>
                <c:pt idx="28">
                  <c:v>500.1508069200018</c:v>
                </c:pt>
                <c:pt idx="29">
                  <c:v>470.11614234999894</c:v>
                </c:pt>
                <c:pt idx="30">
                  <c:v>441.96367923113434</c:v>
                </c:pt>
                <c:pt idx="31">
                  <c:v>415.45814122699687</c:v>
                </c:pt>
                <c:pt idx="32">
                  <c:v>390.52477521568784</c:v>
                </c:pt>
                <c:pt idx="33">
                  <c:v>367.03407504654967</c:v>
                </c:pt>
                <c:pt idx="34">
                  <c:v>344.92487041167311</c:v>
                </c:pt>
                <c:pt idx="35">
                  <c:v>324.14107382375732</c:v>
                </c:pt>
                <c:pt idx="36">
                  <c:v>304.61642784463254</c:v>
                </c:pt>
                <c:pt idx="37">
                  <c:v>286.25842583963356</c:v>
                </c:pt>
                <c:pt idx="38">
                  <c:v>269.06099869236465</c:v>
                </c:pt>
                <c:pt idx="39">
                  <c:v>252.99333852935249</c:v>
                </c:pt>
                <c:pt idx="40">
                  <c:v>237.99545360576991</c:v>
                </c:pt>
                <c:pt idx="41">
                  <c:v>224.04759010540653</c:v>
                </c:pt>
                <c:pt idx="42">
                  <c:v>211.12796704763622</c:v>
                </c:pt>
                <c:pt idx="43">
                  <c:v>199.17880419731111</c:v>
                </c:pt>
                <c:pt idx="44">
                  <c:v>188.14469544361236</c:v>
                </c:pt>
                <c:pt idx="45">
                  <c:v>177.95058573500316</c:v>
                </c:pt>
                <c:pt idx="46">
                  <c:v>168.52760457893251</c:v>
                </c:pt>
                <c:pt idx="47">
                  <c:v>159.8055660931218</c:v>
                </c:pt>
                <c:pt idx="48">
                  <c:v>151.74505284033469</c:v>
                </c:pt>
                <c:pt idx="49">
                  <c:v>144.3148797439255</c:v>
                </c:pt>
                <c:pt idx="50">
                  <c:v>137.47202625579533</c:v>
                </c:pt>
                <c:pt idx="51">
                  <c:v>131.15062573348547</c:v>
                </c:pt>
                <c:pt idx="52">
                  <c:v>125.30370058744118</c:v>
                </c:pt>
                <c:pt idx="53">
                  <c:v>119.86183076193154</c:v>
                </c:pt>
                <c:pt idx="54">
                  <c:v>114.7668870074599</c:v>
                </c:pt>
                <c:pt idx="55">
                  <c:v>109.98526605855835</c:v>
                </c:pt>
                <c:pt idx="56">
                  <c:v>105.509540063831</c:v>
                </c:pt>
                <c:pt idx="57">
                  <c:v>101.30029673244914</c:v>
                </c:pt>
                <c:pt idx="58">
                  <c:v>97.328608793528574</c:v>
                </c:pt>
                <c:pt idx="59">
                  <c:v>93.574261878556456</c:v>
                </c:pt>
                <c:pt idx="60">
                  <c:v>90.008258445359161</c:v>
                </c:pt>
                <c:pt idx="61">
                  <c:v>86.605474914427873</c:v>
                </c:pt>
                <c:pt idx="62">
                  <c:v>83.348782033860431</c:v>
                </c:pt>
                <c:pt idx="63">
                  <c:v>80.223976794726525</c:v>
                </c:pt>
                <c:pt idx="64">
                  <c:v>77.218674374740317</c:v>
                </c:pt>
                <c:pt idx="65">
                  <c:v>74.322272564623859</c:v>
                </c:pt>
                <c:pt idx="66">
                  <c:v>71.52558271363074</c:v>
                </c:pt>
                <c:pt idx="67">
                  <c:v>68.820590516004643</c:v>
                </c:pt>
                <c:pt idx="68">
                  <c:v>66.20047233138402</c:v>
                </c:pt>
                <c:pt idx="69">
                  <c:v>63.658680720656093</c:v>
                </c:pt>
                <c:pt idx="70">
                  <c:v>61.189487646971884</c:v>
                </c:pt>
                <c:pt idx="71">
                  <c:v>58.787590006731904</c:v>
                </c:pt>
                <c:pt idx="72">
                  <c:v>56.448013882653186</c:v>
                </c:pt>
                <c:pt idx="73">
                  <c:v>54.166065803169289</c:v>
                </c:pt>
                <c:pt idx="74">
                  <c:v>51.937358691974168</c:v>
                </c:pt>
                <c:pt idx="75">
                  <c:v>49.758045583308842</c:v>
                </c:pt>
                <c:pt idx="76">
                  <c:v>47.624891396849165</c:v>
                </c:pt>
                <c:pt idx="77">
                  <c:v>45.535497573955524</c:v>
                </c:pt>
                <c:pt idx="78">
                  <c:v>43.488331818231188</c:v>
                </c:pt>
                <c:pt idx="79">
                  <c:v>41.482701403591989</c:v>
                </c:pt>
                <c:pt idx="80">
                  <c:v>39.518603727828946</c:v>
                </c:pt>
                <c:pt idx="81">
                  <c:v>37.596709130185673</c:v>
                </c:pt>
                <c:pt idx="82">
                  <c:v>35.718153507574755</c:v>
                </c:pt>
                <c:pt idx="83">
                  <c:v>33.884425950241109</c:v>
                </c:pt>
                <c:pt idx="84">
                  <c:v>32.097267089772458</c:v>
                </c:pt>
                <c:pt idx="85">
                  <c:v>30.358586179730764</c:v>
                </c:pt>
                <c:pt idx="86">
                  <c:v>28.670349257951841</c:v>
                </c:pt>
                <c:pt idx="87">
                  <c:v>27.034421239789253</c:v>
                </c:pt>
                <c:pt idx="88">
                  <c:v>25.452497128227435</c:v>
                </c:pt>
                <c:pt idx="89">
                  <c:v>23.926027150366252</c:v>
                </c:pt>
                <c:pt idx="90">
                  <c:v>22.456202171998143</c:v>
                </c:pt>
                <c:pt idx="91">
                  <c:v>21.043927958223151</c:v>
                </c:pt>
                <c:pt idx="92">
                  <c:v>19.689819323429475</c:v>
                </c:pt>
                <c:pt idx="93">
                  <c:v>18.394239206036929</c:v>
                </c:pt>
                <c:pt idx="94">
                  <c:v>17.157243270274336</c:v>
                </c:pt>
                <c:pt idx="95">
                  <c:v>15.978603792830114</c:v>
                </c:pt>
                <c:pt idx="96">
                  <c:v>14.85781589958674</c:v>
                </c:pt>
                <c:pt idx="97">
                  <c:v>13.794109928219655</c:v>
                </c:pt>
                <c:pt idx="98">
                  <c:v>12.786473054455428</c:v>
                </c:pt>
                <c:pt idx="99">
                  <c:v>11.833686431957005</c:v>
                </c:pt>
                <c:pt idx="100">
                  <c:v>10.93430627386843</c:v>
                </c:pt>
                <c:pt idx="101">
                  <c:v>10.086713367132234</c:v>
                </c:pt>
                <c:pt idx="102">
                  <c:v>9.2891486885581571</c:v>
                </c:pt>
                <c:pt idx="103">
                  <c:v>8.539751529422972</c:v>
                </c:pt>
                <c:pt idx="104">
                  <c:v>7.8365900956598011</c:v>
                </c:pt>
                <c:pt idx="105">
                  <c:v>7.1776850058918171</c:v>
                </c:pt>
                <c:pt idx="106">
                  <c:v>6.5610246925440947</c:v>
                </c:pt>
                <c:pt idx="107">
                  <c:v>5.9845874197453099</c:v>
                </c:pt>
                <c:pt idx="108">
                  <c:v>5.4463579322955411</c:v>
                </c:pt>
                <c:pt idx="109">
                  <c:v>4.9443431918847978</c:v>
                </c:pt>
                <c:pt idx="110">
                  <c:v>4.4765911606593249</c:v>
                </c:pt>
                <c:pt idx="111">
                  <c:v>4.041201290978961</c:v>
                </c:pt>
                <c:pt idx="112">
                  <c:v>3.6363334174342583</c:v>
                </c:pt>
                <c:pt idx="113">
                  <c:v>3.260214151900982</c:v>
                </c:pt>
                <c:pt idx="114">
                  <c:v>2.9111372581974138</c:v>
                </c:pt>
                <c:pt idx="115">
                  <c:v>2.587464261725529</c:v>
                </c:pt>
                <c:pt idx="116">
                  <c:v>2.2876300316560787</c:v>
                </c:pt>
                <c:pt idx="117">
                  <c:v>2.0101423340503288</c:v>
                </c:pt>
                <c:pt idx="118">
                  <c:v>1.7535795732907786</c:v>
                </c:pt>
                <c:pt idx="119">
                  <c:v>1.5165901522858292</c:v>
                </c:pt>
                <c:pt idx="120">
                  <c:v>1.2978901510515755</c:v>
                </c:pt>
                <c:pt idx="121">
                  <c:v>1.0962631762403987</c:v>
                </c:pt>
                <c:pt idx="122">
                  <c:v>0.91055810734667375</c:v>
                </c:pt>
                <c:pt idx="123">
                  <c:v>0.73968701071657961</c:v>
                </c:pt>
                <c:pt idx="124">
                  <c:v>0.58262108610574614</c:v>
                </c:pt>
                <c:pt idx="125">
                  <c:v>0.43838987712450717</c:v>
                </c:pt>
                <c:pt idx="126">
                  <c:v>0.306077039067048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3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28</c:f>
              <c:numCache>
                <c:formatCode>m/d/yyyy</c:formatCode>
                <c:ptCount val="12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</c:numCache>
            </c:numRef>
          </c:cat>
          <c:val>
            <c:numRef>
              <c:f>Sheet1!$G$2:$G$128</c:f>
              <c:numCache>
                <c:formatCode>General</c:formatCode>
                <c:ptCount val="127"/>
                <c:pt idx="0">
                  <c:v>555</c:v>
                </c:pt>
                <c:pt idx="1">
                  <c:v>560</c:v>
                </c:pt>
                <c:pt idx="2">
                  <c:v>565</c:v>
                </c:pt>
                <c:pt idx="3">
                  <c:v>545</c:v>
                </c:pt>
                <c:pt idx="4">
                  <c:v>503</c:v>
                </c:pt>
                <c:pt idx="5">
                  <c:v>467</c:v>
                </c:pt>
                <c:pt idx="6">
                  <c:v>442</c:v>
                </c:pt>
                <c:pt idx="7">
                  <c:v>413</c:v>
                </c:pt>
                <c:pt idx="8">
                  <c:v>419</c:v>
                </c:pt>
                <c:pt idx="9">
                  <c:v>426</c:v>
                </c:pt>
                <c:pt idx="10">
                  <c:v>402</c:v>
                </c:pt>
                <c:pt idx="11">
                  <c:v>379</c:v>
                </c:pt>
                <c:pt idx="12">
                  <c:v>368</c:v>
                </c:pt>
                <c:pt idx="13">
                  <c:v>340</c:v>
                </c:pt>
                <c:pt idx="14">
                  <c:v>306</c:v>
                </c:pt>
                <c:pt idx="15">
                  <c:v>301</c:v>
                </c:pt>
                <c:pt idx="16">
                  <c:v>293</c:v>
                </c:pt>
                <c:pt idx="17">
                  <c:v>276</c:v>
                </c:pt>
                <c:pt idx="18">
                  <c:v>247</c:v>
                </c:pt>
                <c:pt idx="19">
                  <c:v>216</c:v>
                </c:pt>
                <c:pt idx="20">
                  <c:v>190</c:v>
                </c:pt>
                <c:pt idx="21">
                  <c:v>186</c:v>
                </c:pt>
                <c:pt idx="22">
                  <c:v>184</c:v>
                </c:pt>
                <c:pt idx="23">
                  <c:v>180</c:v>
                </c:pt>
                <c:pt idx="24">
                  <c:v>159</c:v>
                </c:pt>
                <c:pt idx="25">
                  <c:v>152</c:v>
                </c:pt>
                <c:pt idx="26">
                  <c:v>143</c:v>
                </c:pt>
                <c:pt idx="27">
                  <c:v>124</c:v>
                </c:pt>
                <c:pt idx="28">
                  <c:v>111</c:v>
                </c:pt>
                <c:pt idx="29">
                  <c:v>111</c:v>
                </c:pt>
                <c:pt idx="30">
                  <c:v>116</c:v>
                </c:pt>
                <c:pt idx="31">
                  <c:v>97</c:v>
                </c:pt>
                <c:pt idx="32">
                  <c:v>89</c:v>
                </c:pt>
                <c:pt idx="33">
                  <c:v>84</c:v>
                </c:pt>
                <c:pt idx="34">
                  <c:v>70</c:v>
                </c:pt>
                <c:pt idx="35">
                  <c:v>59</c:v>
                </c:pt>
                <c:pt idx="36">
                  <c:v>59</c:v>
                </c:pt>
                <c:pt idx="37">
                  <c:v>57</c:v>
                </c:pt>
                <c:pt idx="38">
                  <c:v>58</c:v>
                </c:pt>
                <c:pt idx="39">
                  <c:v>54</c:v>
                </c:pt>
                <c:pt idx="40">
                  <c:v>51</c:v>
                </c:pt>
                <c:pt idx="41">
                  <c:v>37</c:v>
                </c:pt>
                <c:pt idx="42">
                  <c:v>36</c:v>
                </c:pt>
                <c:pt idx="43">
                  <c:v>34</c:v>
                </c:pt>
                <c:pt idx="44">
                  <c:v>36</c:v>
                </c:pt>
                <c:pt idx="45">
                  <c:v>26</c:v>
                </c:pt>
                <c:pt idx="46">
                  <c:v>24</c:v>
                </c:pt>
                <c:pt idx="47">
                  <c:v>23</c:v>
                </c:pt>
                <c:pt idx="48">
                  <c:v>21</c:v>
                </c:pt>
                <c:pt idx="49">
                  <c:v>18</c:v>
                </c:pt>
                <c:pt idx="50">
                  <c:v>20</c:v>
                </c:pt>
                <c:pt idx="51">
                  <c:v>18</c:v>
                </c:pt>
                <c:pt idx="52">
                  <c:v>17</c:v>
                </c:pt>
                <c:pt idx="53">
                  <c:v>14</c:v>
                </c:pt>
                <c:pt idx="54">
                  <c:v>16</c:v>
                </c:pt>
                <c:pt idx="55">
                  <c:v>16</c:v>
                </c:pt>
                <c:pt idx="56">
                  <c:v>13</c:v>
                </c:pt>
                <c:pt idx="57">
                  <c:v>12</c:v>
                </c:pt>
                <c:pt idx="58">
                  <c:v>14</c:v>
                </c:pt>
                <c:pt idx="59">
                  <c:v>14</c:v>
                </c:pt>
                <c:pt idx="60">
                  <c:v>12</c:v>
                </c:pt>
                <c:pt idx="61">
                  <c:v>13</c:v>
                </c:pt>
                <c:pt idx="62">
                  <c:v>6</c:v>
                </c:pt>
                <c:pt idx="63">
                  <c:v>5</c:v>
                </c:pt>
                <c:pt idx="64">
                  <c:v>6</c:v>
                </c:pt>
                <c:pt idx="65">
                  <c:v>10</c:v>
                </c:pt>
                <c:pt idx="66">
                  <c:v>10</c:v>
                </c:pt>
                <c:pt idx="67">
                  <c:v>11</c:v>
                </c:pt>
                <c:pt idx="68">
                  <c:v>11</c:v>
                </c:pt>
                <c:pt idx="69">
                  <c:v>9</c:v>
                </c:pt>
                <c:pt idx="70">
                  <c:v>8</c:v>
                </c:pt>
                <c:pt idx="71">
                  <c:v>9</c:v>
                </c:pt>
                <c:pt idx="72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8</c:f>
              <c:numCache>
                <c:formatCode>m/d/yyyy</c:formatCode>
                <c:ptCount val="12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</c:numCache>
            </c:numRef>
          </c:cat>
          <c:val>
            <c:numRef>
              <c:f>Sheet1!$C$2:$C$128</c:f>
              <c:numCache>
                <c:formatCode>General</c:formatCode>
                <c:ptCount val="127"/>
                <c:pt idx="0">
                  <c:v>599.24810912598571</c:v>
                </c:pt>
                <c:pt idx="1">
                  <c:v>568.88328150636778</c:v>
                </c:pt>
                <c:pt idx="2">
                  <c:v>539.7232115913431</c:v>
                </c:pt>
                <c:pt idx="3">
                  <c:v>512.4392472674657</c:v>
                </c:pt>
                <c:pt idx="4">
                  <c:v>486.90462838558807</c:v>
                </c:pt>
                <c:pt idx="5">
                  <c:v>460.29369702385924</c:v>
                </c:pt>
                <c:pt idx="6">
                  <c:v>434.67578482962847</c:v>
                </c:pt>
                <c:pt idx="7">
                  <c:v>410.90659750341138</c:v>
                </c:pt>
                <c:pt idx="8">
                  <c:v>387.84730877886147</c:v>
                </c:pt>
                <c:pt idx="9">
                  <c:v>365.06710445916246</c:v>
                </c:pt>
                <c:pt idx="10">
                  <c:v>343.61252697046035</c:v>
                </c:pt>
                <c:pt idx="11">
                  <c:v>322.6820818726024</c:v>
                </c:pt>
                <c:pt idx="12">
                  <c:v>302.38024362929002</c:v>
                </c:pt>
                <c:pt idx="13">
                  <c:v>283.99432602727899</c:v>
                </c:pt>
                <c:pt idx="14">
                  <c:v>267.13362172110266</c:v>
                </c:pt>
                <c:pt idx="15">
                  <c:v>251.73352918077094</c:v>
                </c:pt>
                <c:pt idx="16">
                  <c:v>236.84510469070634</c:v>
                </c:pt>
                <c:pt idx="17">
                  <c:v>222.81281996421566</c:v>
                </c:pt>
                <c:pt idx="18">
                  <c:v>209.71350577448226</c:v>
                </c:pt>
                <c:pt idx="19">
                  <c:v>196.38270309088435</c:v>
                </c:pt>
                <c:pt idx="20">
                  <c:v>184.10925489515427</c:v>
                </c:pt>
                <c:pt idx="21">
                  <c:v>173.08885980937882</c:v>
                </c:pt>
                <c:pt idx="22">
                  <c:v>162.84283907572106</c:v>
                </c:pt>
                <c:pt idx="23">
                  <c:v>152.98590994520382</c:v>
                </c:pt>
                <c:pt idx="24">
                  <c:v>144.01481846432623</c:v>
                </c:pt>
                <c:pt idx="25">
                  <c:v>135.37472434567638</c:v>
                </c:pt>
                <c:pt idx="26">
                  <c:v>126.62390460030787</c:v>
                </c:pt>
                <c:pt idx="27">
                  <c:v>118.59102415069074</c:v>
                </c:pt>
                <c:pt idx="28">
                  <c:v>111.18969239578249</c:v>
                </c:pt>
                <c:pt idx="29">
                  <c:v>104.09581935565402</c:v>
                </c:pt>
                <c:pt idx="30">
                  <c:v>97.151469940545567</c:v>
                </c:pt>
                <c:pt idx="31">
                  <c:v>91.054144346859502</c:v>
                </c:pt>
                <c:pt idx="32">
                  <c:v>85.390862771491669</c:v>
                </c:pt>
                <c:pt idx="33">
                  <c:v>79.230369421192876</c:v>
                </c:pt>
                <c:pt idx="34">
                  <c:v>74.457732301307331</c:v>
                </c:pt>
                <c:pt idx="35">
                  <c:v>69.971206407419544</c:v>
                </c:pt>
                <c:pt idx="36">
                  <c:v>65.75648897676173</c:v>
                </c:pt>
                <c:pt idx="37">
                  <c:v>61.793610923800024</c:v>
                </c:pt>
                <c:pt idx="38">
                  <c:v>58.081262129483427</c:v>
                </c:pt>
                <c:pt idx="39">
                  <c:v>54.612792205299463</c:v>
                </c:pt>
                <c:pt idx="40">
                  <c:v>51.375250941913279</c:v>
                </c:pt>
                <c:pt idx="41">
                  <c:v>48.364374151713328</c:v>
                </c:pt>
                <c:pt idx="42">
                  <c:v>45.575460050155101</c:v>
                </c:pt>
                <c:pt idx="43">
                  <c:v>42.996035818807691</c:v>
                </c:pt>
                <c:pt idx="44">
                  <c:v>40.614141133203113</c:v>
                </c:pt>
                <c:pt idx="45">
                  <c:v>38.41357412036966</c:v>
                </c:pt>
                <c:pt idx="46">
                  <c:v>36.37946794657713</c:v>
                </c:pt>
                <c:pt idx="47">
                  <c:v>34.496671829489088</c:v>
                </c:pt>
                <c:pt idx="48">
                  <c:v>32.756676864003261</c:v>
                </c:pt>
                <c:pt idx="49">
                  <c:v>31.152751236070088</c:v>
                </c:pt>
                <c:pt idx="50">
                  <c:v>29.675608249575191</c:v>
                </c:pt>
                <c:pt idx="51">
                  <c:v>28.311029501461924</c:v>
                </c:pt>
                <c:pt idx="52">
                  <c:v>27.048874102837431</c:v>
                </c:pt>
                <c:pt idx="53">
                  <c:v>25.874156587678957</c:v>
                </c:pt>
                <c:pt idx="54">
                  <c:v>24.774328797041832</c:v>
                </c:pt>
                <c:pt idx="55">
                  <c:v>23.74213691086468</c:v>
                </c:pt>
                <c:pt idx="56">
                  <c:v>22.775977504696982</c:v>
                </c:pt>
                <c:pt idx="57">
                  <c:v>21.867342784373591</c:v>
                </c:pt>
                <c:pt idx="58">
                  <c:v>21.063612263297088</c:v>
                </c:pt>
                <c:pt idx="59">
                  <c:v>20.395248120087132</c:v>
                </c:pt>
                <c:pt idx="60">
                  <c:v>19.873120467913758</c:v>
                </c:pt>
                <c:pt idx="61">
                  <c:v>19.49925839359825</c:v>
                </c:pt>
                <c:pt idx="62">
                  <c:v>19.272276293549844</c:v>
                </c:pt>
                <c:pt idx="63">
                  <c:v>19.189022593675318</c:v>
                </c:pt>
                <c:pt idx="64">
                  <c:v>19.245424461323786</c:v>
                </c:pt>
                <c:pt idx="65">
                  <c:v>19.436429991875759</c:v>
                </c:pt>
                <c:pt idx="66">
                  <c:v>19.755205053088574</c:v>
                </c:pt>
                <c:pt idx="67">
                  <c:v>20.193579009571494</c:v>
                </c:pt>
                <c:pt idx="68">
                  <c:v>20.741848294436078</c:v>
                </c:pt>
                <c:pt idx="69">
                  <c:v>21.397127749740282</c:v>
                </c:pt>
                <c:pt idx="70">
                  <c:v>22.153496336484348</c:v>
                </c:pt>
                <c:pt idx="71">
                  <c:v>23.002079124071805</c:v>
                </c:pt>
                <c:pt idx="72">
                  <c:v>23.93225859868442</c:v>
                </c:pt>
                <c:pt idx="73">
                  <c:v>24.932386374232969</c:v>
                </c:pt>
                <c:pt idx="74">
                  <c:v>25.990632707560362</c:v>
                </c:pt>
                <c:pt idx="75">
                  <c:v>27.095687279621444</c:v>
                </c:pt>
                <c:pt idx="76">
                  <c:v>28.237000615689698</c:v>
                </c:pt>
                <c:pt idx="77">
                  <c:v>29.404821613630727</c:v>
                </c:pt>
                <c:pt idx="78">
                  <c:v>30.590153945979477</c:v>
                </c:pt>
                <c:pt idx="79">
                  <c:v>31.784562736593941</c:v>
                </c:pt>
                <c:pt idx="80">
                  <c:v>32.980137147845824</c:v>
                </c:pt>
                <c:pt idx="81">
                  <c:v>34.169994554057979</c:v>
                </c:pt>
                <c:pt idx="82">
                  <c:v>35.348456339268253</c:v>
                </c:pt>
                <c:pt idx="83">
                  <c:v>36.510932328957736</c:v>
                </c:pt>
                <c:pt idx="84">
                  <c:v>37.653691621624546</c:v>
                </c:pt>
                <c:pt idx="85">
                  <c:v>38.773873419842118</c:v>
                </c:pt>
                <c:pt idx="86">
                  <c:v>39.86937671280203</c:v>
                </c:pt>
                <c:pt idx="87">
                  <c:v>40.938731899371206</c:v>
                </c:pt>
                <c:pt idx="88">
                  <c:v>41.98102702568751</c:v>
                </c:pt>
                <c:pt idx="89">
                  <c:v>42.995727436725012</c:v>
                </c:pt>
                <c:pt idx="90">
                  <c:v>43.982650295873484</c:v>
                </c:pt>
                <c:pt idx="91">
                  <c:v>44.941908224970106</c:v>
                </c:pt>
                <c:pt idx="92">
                  <c:v>45.873901796210241</c:v>
                </c:pt>
                <c:pt idx="93">
                  <c:v>46.7793230538919</c:v>
                </c:pt>
                <c:pt idx="94">
                  <c:v>47.659060693078779</c:v>
                </c:pt>
                <c:pt idx="95">
                  <c:v>48.514137177886447</c:v>
                </c:pt>
                <c:pt idx="96">
                  <c:v>49.345679490878595</c:v>
                </c:pt>
                <c:pt idx="97">
                  <c:v>50.154879279592663</c:v>
                </c:pt>
                <c:pt idx="98">
                  <c:v>50.942946927057747</c:v>
                </c:pt>
                <c:pt idx="99">
                  <c:v>51.711101555449538</c:v>
                </c:pt>
                <c:pt idx="100">
                  <c:v>52.460462645781263</c:v>
                </c:pt>
                <c:pt idx="101">
                  <c:v>53.192071347649922</c:v>
                </c:pt>
                <c:pt idx="102">
                  <c:v>53.906899601151189</c:v>
                </c:pt>
                <c:pt idx="103">
                  <c:v>54.605861799926444</c:v>
                </c:pt>
                <c:pt idx="104">
                  <c:v>55.289805000133185</c:v>
                </c:pt>
                <c:pt idx="105">
                  <c:v>55.959495664672588</c:v>
                </c:pt>
                <c:pt idx="106">
                  <c:v>56.615606499734774</c:v>
                </c:pt>
                <c:pt idx="107">
                  <c:v>57.258716576659026</c:v>
                </c:pt>
                <c:pt idx="108">
                  <c:v>57.889307082257027</c:v>
                </c:pt>
                <c:pt idx="109">
                  <c:v>58.507759860895305</c:v>
                </c:pt>
                <c:pt idx="110">
                  <c:v>59.114374804397663</c:v>
                </c:pt>
                <c:pt idx="111">
                  <c:v>59.709385798945469</c:v>
                </c:pt>
                <c:pt idx="112">
                  <c:v>60.292969028948136</c:v>
                </c:pt>
                <c:pt idx="113">
                  <c:v>60.865242129653005</c:v>
                </c:pt>
                <c:pt idx="114">
                  <c:v>61.426258369285193</c:v>
                </c:pt>
                <c:pt idx="115">
                  <c:v>61.976013586971412</c:v>
                </c:pt>
                <c:pt idx="116">
                  <c:v>62.514486395663695</c:v>
                </c:pt>
                <c:pt idx="117">
                  <c:v>63.041631363983171</c:v>
                </c:pt>
                <c:pt idx="118">
                  <c:v>63.55737945413474</c:v>
                </c:pt>
                <c:pt idx="119">
                  <c:v>64.061649827068052</c:v>
                </c:pt>
                <c:pt idx="120">
                  <c:v>64.554352125539083</c:v>
                </c:pt>
                <c:pt idx="121">
                  <c:v>65.035437812837912</c:v>
                </c:pt>
                <c:pt idx="122">
                  <c:v>65.504892596253725</c:v>
                </c:pt>
                <c:pt idx="123">
                  <c:v>65.962733529402442</c:v>
                </c:pt>
                <c:pt idx="124">
                  <c:v>66.409007423901414</c:v>
                </c:pt>
                <c:pt idx="125">
                  <c:v>66.843793643141368</c:v>
                </c:pt>
                <c:pt idx="126">
                  <c:v>67.2672054271811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A$2:$A$128</c:f>
              <c:numCache>
                <c:formatCode>m/d/yyyy</c:formatCode>
                <c:ptCount val="12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</c:numCache>
            </c:numRef>
          </c:cat>
          <c:val>
            <c:numRef>
              <c:f>Sheet1!$D$2:$D$128</c:f>
              <c:numCache>
                <c:formatCode>General</c:formatCode>
                <c:ptCount val="127"/>
                <c:pt idx="0">
                  <c:v>599.24810912598571</c:v>
                </c:pt>
                <c:pt idx="1">
                  <c:v>568.88328150636778</c:v>
                </c:pt>
                <c:pt idx="2">
                  <c:v>539.7232115913431</c:v>
                </c:pt>
                <c:pt idx="3">
                  <c:v>512.4392472674657</c:v>
                </c:pt>
                <c:pt idx="4">
                  <c:v>486.90462838558807</c:v>
                </c:pt>
                <c:pt idx="5">
                  <c:v>460.29369702385924</c:v>
                </c:pt>
                <c:pt idx="6">
                  <c:v>434.67578482962847</c:v>
                </c:pt>
                <c:pt idx="7">
                  <c:v>410.90659750341138</c:v>
                </c:pt>
                <c:pt idx="8">
                  <c:v>387.84730877886147</c:v>
                </c:pt>
                <c:pt idx="9">
                  <c:v>365.06710445916246</c:v>
                </c:pt>
                <c:pt idx="10">
                  <c:v>343.61252697046035</c:v>
                </c:pt>
                <c:pt idx="11">
                  <c:v>322.6820818726024</c:v>
                </c:pt>
                <c:pt idx="12">
                  <c:v>302.38024362929002</c:v>
                </c:pt>
                <c:pt idx="13">
                  <c:v>283.99432602727899</c:v>
                </c:pt>
                <c:pt idx="14">
                  <c:v>267.13362172110266</c:v>
                </c:pt>
                <c:pt idx="15">
                  <c:v>251.73352918077094</c:v>
                </c:pt>
                <c:pt idx="16">
                  <c:v>236.84510469070634</c:v>
                </c:pt>
                <c:pt idx="17">
                  <c:v>222.81281996421566</c:v>
                </c:pt>
                <c:pt idx="18">
                  <c:v>209.71350577448226</c:v>
                </c:pt>
                <c:pt idx="19">
                  <c:v>196.38270309088435</c:v>
                </c:pt>
                <c:pt idx="20">
                  <c:v>184.10925489515427</c:v>
                </c:pt>
                <c:pt idx="21">
                  <c:v>173.08885980937882</c:v>
                </c:pt>
                <c:pt idx="22">
                  <c:v>162.84283907572106</c:v>
                </c:pt>
                <c:pt idx="23">
                  <c:v>152.98590994520382</c:v>
                </c:pt>
                <c:pt idx="24">
                  <c:v>144.01481846432623</c:v>
                </c:pt>
                <c:pt idx="25">
                  <c:v>135.37472434567638</c:v>
                </c:pt>
                <c:pt idx="26">
                  <c:v>126.62390460030787</c:v>
                </c:pt>
                <c:pt idx="27">
                  <c:v>118.59102415069074</c:v>
                </c:pt>
                <c:pt idx="28">
                  <c:v>111.18969239578249</c:v>
                </c:pt>
                <c:pt idx="29">
                  <c:v>104.09581935565402</c:v>
                </c:pt>
                <c:pt idx="30">
                  <c:v>97.151469940545567</c:v>
                </c:pt>
                <c:pt idx="31">
                  <c:v>91.054144346859502</c:v>
                </c:pt>
                <c:pt idx="32">
                  <c:v>85.390862771491669</c:v>
                </c:pt>
                <c:pt idx="33">
                  <c:v>79.230369421192876</c:v>
                </c:pt>
                <c:pt idx="34">
                  <c:v>74.457732301307331</c:v>
                </c:pt>
                <c:pt idx="35">
                  <c:v>69.971206407419544</c:v>
                </c:pt>
                <c:pt idx="36">
                  <c:v>65.75648897676173</c:v>
                </c:pt>
                <c:pt idx="37">
                  <c:v>61.793610923800024</c:v>
                </c:pt>
                <c:pt idx="38">
                  <c:v>58.081262129483427</c:v>
                </c:pt>
                <c:pt idx="39">
                  <c:v>54.612792205299463</c:v>
                </c:pt>
                <c:pt idx="40">
                  <c:v>51.375250941913279</c:v>
                </c:pt>
                <c:pt idx="41">
                  <c:v>48.364374151713328</c:v>
                </c:pt>
                <c:pt idx="42">
                  <c:v>45.575460050155101</c:v>
                </c:pt>
                <c:pt idx="43">
                  <c:v>42.996035818807691</c:v>
                </c:pt>
                <c:pt idx="44">
                  <c:v>40.614141133203113</c:v>
                </c:pt>
                <c:pt idx="45">
                  <c:v>38.41357412036966</c:v>
                </c:pt>
                <c:pt idx="46">
                  <c:v>36.37946794657713</c:v>
                </c:pt>
                <c:pt idx="47">
                  <c:v>34.496671829489088</c:v>
                </c:pt>
                <c:pt idx="48">
                  <c:v>32.756676864003261</c:v>
                </c:pt>
                <c:pt idx="49">
                  <c:v>31.152751236070088</c:v>
                </c:pt>
                <c:pt idx="50">
                  <c:v>29.675608249575191</c:v>
                </c:pt>
                <c:pt idx="51">
                  <c:v>28.311029501461924</c:v>
                </c:pt>
                <c:pt idx="52">
                  <c:v>27.048874102837431</c:v>
                </c:pt>
                <c:pt idx="53">
                  <c:v>25.874156587678957</c:v>
                </c:pt>
                <c:pt idx="54">
                  <c:v>24.774328797041832</c:v>
                </c:pt>
                <c:pt idx="55">
                  <c:v>23.74213691086468</c:v>
                </c:pt>
                <c:pt idx="56">
                  <c:v>22.775977504696982</c:v>
                </c:pt>
                <c:pt idx="57">
                  <c:v>21.867342784373591</c:v>
                </c:pt>
                <c:pt idx="58">
                  <c:v>21.063612263297088</c:v>
                </c:pt>
                <c:pt idx="59">
                  <c:v>20.411114209623573</c:v>
                </c:pt>
                <c:pt idx="60">
                  <c:v>19.931614171232816</c:v>
                </c:pt>
                <c:pt idx="61">
                  <c:v>19.634211047066788</c:v>
                </c:pt>
                <c:pt idx="62">
                  <c:v>19.523092941987624</c:v>
                </c:pt>
                <c:pt idx="63">
                  <c:v>19.600206921747287</c:v>
                </c:pt>
                <c:pt idx="64">
                  <c:v>19.866599146196403</c:v>
                </c:pt>
                <c:pt idx="65">
                  <c:v>20.32240823758573</c:v>
                </c:pt>
                <c:pt idx="66">
                  <c:v>20.965887602790961</c:v>
                </c:pt>
                <c:pt idx="67">
                  <c:v>21.793476742062026</c:v>
                </c:pt>
                <c:pt idx="68">
                  <c:v>22.799640479879191</c:v>
                </c:pt>
                <c:pt idx="69">
                  <c:v>23.989421821502745</c:v>
                </c:pt>
                <c:pt idx="70">
                  <c:v>25.363260669609257</c:v>
                </c:pt>
                <c:pt idx="71">
                  <c:v>26.916624412558317</c:v>
                </c:pt>
                <c:pt idx="72">
                  <c:v>28.641843108760483</c:v>
                </c:pt>
                <c:pt idx="73">
                  <c:v>30.529205734343346</c:v>
                </c:pt>
                <c:pt idx="74">
                  <c:v>32.568074472261308</c:v>
                </c:pt>
                <c:pt idx="75">
                  <c:v>34.747852510425986</c:v>
                </c:pt>
                <c:pt idx="76">
                  <c:v>37.058356086116355</c:v>
                </c:pt>
                <c:pt idx="77">
                  <c:v>39.489965501995776</c:v>
                </c:pt>
                <c:pt idx="78">
                  <c:v>42.033670208423558</c:v>
                </c:pt>
                <c:pt idx="79">
                  <c:v>44.680858760075566</c:v>
                </c:pt>
                <c:pt idx="80">
                  <c:v>47.423193846014385</c:v>
                </c:pt>
                <c:pt idx="81">
                  <c:v>50.25330255823912</c:v>
                </c:pt>
                <c:pt idx="82">
                  <c:v>53.165129851156642</c:v>
                </c:pt>
                <c:pt idx="83">
                  <c:v>56.153879525213931</c:v>
                </c:pt>
                <c:pt idx="84">
                  <c:v>59.215785636257834</c:v>
                </c:pt>
                <c:pt idx="85">
                  <c:v>62.348132908023871</c:v>
                </c:pt>
                <c:pt idx="86">
                  <c:v>65.549182828199235</c:v>
                </c:pt>
                <c:pt idx="87">
                  <c:v>68.818015008471903</c:v>
                </c:pt>
                <c:pt idx="88">
                  <c:v>72.154464584134828</c:v>
                </c:pt>
                <c:pt idx="89">
                  <c:v>75.558914492380623</c:v>
                </c:pt>
                <c:pt idx="90">
                  <c:v>79.032243333859839</c:v>
                </c:pt>
                <c:pt idx="91">
                  <c:v>82.575780336804428</c:v>
                </c:pt>
                <c:pt idx="92">
                  <c:v>86.191323107094917</c:v>
                </c:pt>
                <c:pt idx="93">
                  <c:v>89.881203576516484</c:v>
                </c:pt>
                <c:pt idx="94">
                  <c:v>93.64814457932151</c:v>
                </c:pt>
                <c:pt idx="95">
                  <c:v>97.495174268259177</c:v>
                </c:pt>
                <c:pt idx="96">
                  <c:v>101.42559336198508</c:v>
                </c:pt>
                <c:pt idx="97">
                  <c:v>105.44292614486223</c:v>
                </c:pt>
                <c:pt idx="98">
                  <c:v>109.55086932325761</c:v>
                </c:pt>
                <c:pt idx="99">
                  <c:v>113.75327401155644</c:v>
                </c:pt>
                <c:pt idx="100">
                  <c:v>118.0538530490215</c:v>
                </c:pt>
                <c:pt idx="101">
                  <c:v>122.45624169872127</c:v>
                </c:pt>
                <c:pt idx="102">
                  <c:v>126.96400732224349</c:v>
                </c:pt>
                <c:pt idx="103">
                  <c:v>131.58069197988462</c:v>
                </c:pt>
                <c:pt idx="104">
                  <c:v>136.30979639830534</c:v>
                </c:pt>
                <c:pt idx="105">
                  <c:v>141.15472462468739</c:v>
                </c:pt>
                <c:pt idx="106">
                  <c:v>146.11873657617116</c:v>
                </c:pt>
                <c:pt idx="107">
                  <c:v>151.20492764190467</c:v>
                </c:pt>
                <c:pt idx="108">
                  <c:v>156.41621188321997</c:v>
                </c:pt>
                <c:pt idx="109">
                  <c:v>161.75530686837178</c:v>
                </c:pt>
                <c:pt idx="110">
                  <c:v>167.22474490944134</c:v>
                </c:pt>
                <c:pt idx="111">
                  <c:v>172.82688164087847</c:v>
                </c:pt>
                <c:pt idx="112">
                  <c:v>178.56389517863028</c:v>
                </c:pt>
                <c:pt idx="113">
                  <c:v>184.43777313124454</c:v>
                </c:pt>
                <c:pt idx="114">
                  <c:v>190.45029066102265</c:v>
                </c:pt>
                <c:pt idx="115">
                  <c:v>196.6030017344255</c:v>
                </c:pt>
                <c:pt idx="116">
                  <c:v>202.89740683753706</c:v>
                </c:pt>
                <c:pt idx="117">
                  <c:v>209.33490369861866</c:v>
                </c:pt>
                <c:pt idx="118">
                  <c:v>215.91676725325135</c:v>
                </c:pt>
                <c:pt idx="119">
                  <c:v>222.64416412890674</c:v>
                </c:pt>
                <c:pt idx="120">
                  <c:v>229.51816624599735</c:v>
                </c:pt>
                <c:pt idx="121">
                  <c:v>236.54000436523614</c:v>
                </c:pt>
                <c:pt idx="122">
                  <c:v>243.71102407349784</c:v>
                </c:pt>
                <c:pt idx="123">
                  <c:v>251.0326744965412</c:v>
                </c:pt>
                <c:pt idx="124">
                  <c:v>258.50651924264969</c:v>
                </c:pt>
                <c:pt idx="125">
                  <c:v>266.13425972400017</c:v>
                </c:pt>
                <c:pt idx="126">
                  <c:v>273.917756316396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E2-42EA-A44F-23A358B5B2EF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28</c:f>
              <c:numCache>
                <c:formatCode>m/d/yyyy</c:formatCode>
                <c:ptCount val="12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</c:numCache>
            </c:numRef>
          </c:cat>
          <c:val>
            <c:numRef>
              <c:f>Sheet1!$F$2:$F$128</c:f>
              <c:numCache>
                <c:formatCode>General</c:formatCode>
                <c:ptCount val="127"/>
                <c:pt idx="0">
                  <c:v>599.24810912598571</c:v>
                </c:pt>
                <c:pt idx="1">
                  <c:v>568.88328150636778</c:v>
                </c:pt>
                <c:pt idx="2">
                  <c:v>539.7232115913431</c:v>
                </c:pt>
                <c:pt idx="3">
                  <c:v>512.4392472674657</c:v>
                </c:pt>
                <c:pt idx="4">
                  <c:v>486.90462838558807</c:v>
                </c:pt>
                <c:pt idx="5">
                  <c:v>460.29369702385924</c:v>
                </c:pt>
                <c:pt idx="6">
                  <c:v>434.67578482962847</c:v>
                </c:pt>
                <c:pt idx="7">
                  <c:v>410.90659750341138</c:v>
                </c:pt>
                <c:pt idx="8">
                  <c:v>387.84730877886147</c:v>
                </c:pt>
                <c:pt idx="9">
                  <c:v>365.06710445916246</c:v>
                </c:pt>
                <c:pt idx="10">
                  <c:v>343.61252697046035</c:v>
                </c:pt>
                <c:pt idx="11">
                  <c:v>322.6820818726024</c:v>
                </c:pt>
                <c:pt idx="12">
                  <c:v>302.38024362929002</c:v>
                </c:pt>
                <c:pt idx="13">
                  <c:v>283.99432602727899</c:v>
                </c:pt>
                <c:pt idx="14">
                  <c:v>267.13362172110266</c:v>
                </c:pt>
                <c:pt idx="15">
                  <c:v>251.73352918077094</c:v>
                </c:pt>
                <c:pt idx="16">
                  <c:v>236.84510469070634</c:v>
                </c:pt>
                <c:pt idx="17">
                  <c:v>222.81281996421566</c:v>
                </c:pt>
                <c:pt idx="18">
                  <c:v>209.71350577448226</c:v>
                </c:pt>
                <c:pt idx="19">
                  <c:v>196.38270309088435</c:v>
                </c:pt>
                <c:pt idx="20">
                  <c:v>184.10925489515427</c:v>
                </c:pt>
                <c:pt idx="21">
                  <c:v>173.08885980937882</c:v>
                </c:pt>
                <c:pt idx="22">
                  <c:v>162.84283907572106</c:v>
                </c:pt>
                <c:pt idx="23">
                  <c:v>152.98590994520382</c:v>
                </c:pt>
                <c:pt idx="24">
                  <c:v>144.01481846432623</c:v>
                </c:pt>
                <c:pt idx="25">
                  <c:v>135.37472434567638</c:v>
                </c:pt>
                <c:pt idx="26">
                  <c:v>126.62390460030787</c:v>
                </c:pt>
                <c:pt idx="27">
                  <c:v>118.59102415069074</c:v>
                </c:pt>
                <c:pt idx="28">
                  <c:v>111.18969239578249</c:v>
                </c:pt>
                <c:pt idx="29">
                  <c:v>104.09581935565402</c:v>
                </c:pt>
                <c:pt idx="30">
                  <c:v>97.151469940545567</c:v>
                </c:pt>
                <c:pt idx="31">
                  <c:v>91.054144346859502</c:v>
                </c:pt>
                <c:pt idx="32">
                  <c:v>85.390862771491669</c:v>
                </c:pt>
                <c:pt idx="33">
                  <c:v>79.230369421192876</c:v>
                </c:pt>
                <c:pt idx="34">
                  <c:v>74.457732301307331</c:v>
                </c:pt>
                <c:pt idx="35">
                  <c:v>69.971206407419544</c:v>
                </c:pt>
                <c:pt idx="36">
                  <c:v>65.75648897676173</c:v>
                </c:pt>
                <c:pt idx="37">
                  <c:v>61.793610923800024</c:v>
                </c:pt>
                <c:pt idx="38">
                  <c:v>58.081262129483427</c:v>
                </c:pt>
                <c:pt idx="39">
                  <c:v>54.612792205299463</c:v>
                </c:pt>
                <c:pt idx="40">
                  <c:v>51.375250941913279</c:v>
                </c:pt>
                <c:pt idx="41">
                  <c:v>48.364374151713328</c:v>
                </c:pt>
                <c:pt idx="42">
                  <c:v>45.575460050155101</c:v>
                </c:pt>
                <c:pt idx="43">
                  <c:v>42.996035818807691</c:v>
                </c:pt>
                <c:pt idx="44">
                  <c:v>40.614141133203113</c:v>
                </c:pt>
                <c:pt idx="45">
                  <c:v>38.41357412036966</c:v>
                </c:pt>
                <c:pt idx="46">
                  <c:v>36.37946794657713</c:v>
                </c:pt>
                <c:pt idx="47">
                  <c:v>34.496671829489088</c:v>
                </c:pt>
                <c:pt idx="48">
                  <c:v>32.756676864003261</c:v>
                </c:pt>
                <c:pt idx="49">
                  <c:v>31.152751236070088</c:v>
                </c:pt>
                <c:pt idx="50">
                  <c:v>29.675608249575191</c:v>
                </c:pt>
                <c:pt idx="51">
                  <c:v>28.311029501461924</c:v>
                </c:pt>
                <c:pt idx="52">
                  <c:v>27.048874102837431</c:v>
                </c:pt>
                <c:pt idx="53">
                  <c:v>25.874156587678957</c:v>
                </c:pt>
                <c:pt idx="54">
                  <c:v>24.774328797041832</c:v>
                </c:pt>
                <c:pt idx="55">
                  <c:v>23.74213691086468</c:v>
                </c:pt>
                <c:pt idx="56">
                  <c:v>22.775977504696982</c:v>
                </c:pt>
                <c:pt idx="57">
                  <c:v>21.867342784373591</c:v>
                </c:pt>
                <c:pt idx="58">
                  <c:v>21.00998832052316</c:v>
                </c:pt>
                <c:pt idx="59">
                  <c:v>20.199550507710192</c:v>
                </c:pt>
                <c:pt idx="60">
                  <c:v>19.429769747344466</c:v>
                </c:pt>
                <c:pt idx="61">
                  <c:v>18.695222699684535</c:v>
                </c:pt>
                <c:pt idx="62">
                  <c:v>17.99221173268916</c:v>
                </c:pt>
                <c:pt idx="63">
                  <c:v>17.317670892211453</c:v>
                </c:pt>
                <c:pt idx="64">
                  <c:v>16.66892670973272</c:v>
                </c:pt>
                <c:pt idx="65">
                  <c:v>16.043690523205257</c:v>
                </c:pt>
                <c:pt idx="66">
                  <c:v>15.439978810545927</c:v>
                </c:pt>
                <c:pt idx="67">
                  <c:v>14.856061551440819</c:v>
                </c:pt>
                <c:pt idx="68">
                  <c:v>14.290465750374258</c:v>
                </c:pt>
                <c:pt idx="69">
                  <c:v>13.741778034433658</c:v>
                </c:pt>
                <c:pt idx="70">
                  <c:v>13.208761912223645</c:v>
                </c:pt>
                <c:pt idx="71">
                  <c:v>12.690272621211715</c:v>
                </c:pt>
                <c:pt idx="72">
                  <c:v>12.185236459170765</c:v>
                </c:pt>
                <c:pt idx="73">
                  <c:v>11.692640262715271</c:v>
                </c:pt>
                <c:pt idx="74">
                  <c:v>11.211537008939082</c:v>
                </c:pt>
                <c:pt idx="75">
                  <c:v>10.741096266721611</c:v>
                </c:pt>
                <c:pt idx="76">
                  <c:v>10.280619690523258</c:v>
                </c:pt>
                <c:pt idx="77">
                  <c:v>9.8295895118314665</c:v>
                </c:pt>
                <c:pt idx="78">
                  <c:v>9.3876749591516262</c:v>
                </c:pt>
                <c:pt idx="79">
                  <c:v>8.9547264961129009</c:v>
                </c:pt>
                <c:pt idx="80">
                  <c:v>8.5307435609854849</c:v>
                </c:pt>
                <c:pt idx="81">
                  <c:v>8.1158708575707976</c:v>
                </c:pt>
                <c:pt idx="82">
                  <c:v>7.7103535879852823</c:v>
                </c:pt>
                <c:pt idx="83">
                  <c:v>7.3145131969618058</c:v>
                </c:pt>
                <c:pt idx="84">
                  <c:v>6.9287254285881721</c:v>
                </c:pt>
                <c:pt idx="85">
                  <c:v>6.553402426791382</c:v>
                </c:pt>
                <c:pt idx="86">
                  <c:v>6.1889685933221674</c:v>
                </c:pt>
                <c:pt idx="87">
                  <c:v>5.8358265009726678</c:v>
                </c:pt>
                <c:pt idx="88">
                  <c:v>5.4943420441427691</c:v>
                </c:pt>
                <c:pt idx="89">
                  <c:v>5.1648282783133626</c:v>
                </c:pt>
                <c:pt idx="90">
                  <c:v>4.8475422715418324</c:v>
                </c:pt>
                <c:pt idx="91">
                  <c:v>4.54267954819053</c:v>
                </c:pt>
                <c:pt idx="92">
                  <c:v>4.2503728261034235</c:v>
                </c:pt>
                <c:pt idx="93">
                  <c:v>3.9707004515350803</c:v>
                </c:pt>
                <c:pt idx="94">
                  <c:v>3.7036744405290056</c:v>
                </c:pt>
                <c:pt idx="95">
                  <c:v>3.4492456352458345</c:v>
                </c:pt>
                <c:pt idx="96">
                  <c:v>3.2073050502655143</c:v>
                </c:pt>
                <c:pt idx="97">
                  <c:v>2.9776865412585392</c:v>
                </c:pt>
                <c:pt idx="98">
                  <c:v>2.7601714733710945</c:v>
                </c:pt>
                <c:pt idx="99">
                  <c:v>2.5544967384829333</c:v>
                </c:pt>
                <c:pt idx="100">
                  <c:v>2.3603506713462203</c:v>
                </c:pt>
                <c:pt idx="101">
                  <c:v>2.1773837380690462</c:v>
                </c:pt>
                <c:pt idx="102">
                  <c:v>2.0052162244323224</c:v>
                </c:pt>
                <c:pt idx="103">
                  <c:v>1.8434464657145717</c:v>
                </c:pt>
                <c:pt idx="104">
                  <c:v>1.6916574522483809</c:v>
                </c:pt>
                <c:pt idx="105">
                  <c:v>1.5494219018592226</c:v>
                </c:pt>
                <c:pt idx="106">
                  <c:v>1.4163055844499137</c:v>
                </c:pt>
                <c:pt idx="107">
                  <c:v>1.2918720749284875</c:v>
                </c:pt>
                <c:pt idx="108">
                  <c:v>1.1756863471629768</c:v>
                </c:pt>
                <c:pt idx="109">
                  <c:v>1.0673181709041841</c:v>
                </c:pt>
                <c:pt idx="110">
                  <c:v>0.96634616652882099</c:v>
                </c:pt>
                <c:pt idx="111">
                  <c:v>0.87236006942695044</c:v>
                </c:pt>
                <c:pt idx="112">
                  <c:v>0.78496264949080075</c:v>
                </c:pt>
                <c:pt idx="113">
                  <c:v>0.70377109159294138</c:v>
                </c:pt>
                <c:pt idx="114">
                  <c:v>0.6284170764622522</c:v>
                </c:pt>
                <c:pt idx="115">
                  <c:v>0.55854691228504483</c:v>
                </c:pt>
                <c:pt idx="116">
                  <c:v>0.49382273971194357</c:v>
                </c:pt>
                <c:pt idx="117">
                  <c:v>0.43392243539182973</c:v>
                </c:pt>
                <c:pt idx="118">
                  <c:v>0.37853912442234494</c:v>
                </c:pt>
                <c:pt idx="119">
                  <c:v>0.32738104223949754</c:v>
                </c:pt>
                <c:pt idx="120">
                  <c:v>0.28017103350118722</c:v>
                </c:pt>
                <c:pt idx="121">
                  <c:v>0.23664651960546507</c:v>
                </c:pt>
                <c:pt idx="122">
                  <c:v>0.19655901217179739</c:v>
                </c:pt>
                <c:pt idx="123">
                  <c:v>0.15967366274561753</c:v>
                </c:pt>
                <c:pt idx="124">
                  <c:v>0.12576838779582089</c:v>
                </c:pt>
                <c:pt idx="125">
                  <c:v>9.4633698276327297E-2</c:v>
                </c:pt>
                <c:pt idx="126">
                  <c:v>6.607178604207664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3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28</c:f>
              <c:numCache>
                <c:formatCode>m/d/yyyy</c:formatCode>
                <c:ptCount val="12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</c:numCache>
            </c:numRef>
          </c:cat>
          <c:val>
            <c:numRef>
              <c:f>Sheet1!$G$2:$G$128</c:f>
              <c:numCache>
                <c:formatCode>General</c:formatCode>
                <c:ptCount val="127"/>
                <c:pt idx="0">
                  <c:v>158</c:v>
                </c:pt>
                <c:pt idx="1">
                  <c:v>147</c:v>
                </c:pt>
                <c:pt idx="2">
                  <c:v>255</c:v>
                </c:pt>
                <c:pt idx="3">
                  <c:v>171</c:v>
                </c:pt>
                <c:pt idx="4">
                  <c:v>182</c:v>
                </c:pt>
                <c:pt idx="5">
                  <c:v>170</c:v>
                </c:pt>
                <c:pt idx="6">
                  <c:v>176</c:v>
                </c:pt>
                <c:pt idx="7">
                  <c:v>92</c:v>
                </c:pt>
                <c:pt idx="8">
                  <c:v>101</c:v>
                </c:pt>
                <c:pt idx="9">
                  <c:v>175</c:v>
                </c:pt>
                <c:pt idx="10">
                  <c:v>138</c:v>
                </c:pt>
                <c:pt idx="11">
                  <c:v>139</c:v>
                </c:pt>
                <c:pt idx="12">
                  <c:v>121</c:v>
                </c:pt>
                <c:pt idx="13">
                  <c:v>104</c:v>
                </c:pt>
                <c:pt idx="14">
                  <c:v>65</c:v>
                </c:pt>
                <c:pt idx="15">
                  <c:v>65</c:v>
                </c:pt>
                <c:pt idx="16">
                  <c:v>103</c:v>
                </c:pt>
                <c:pt idx="17">
                  <c:v>80</c:v>
                </c:pt>
                <c:pt idx="18">
                  <c:v>69</c:v>
                </c:pt>
                <c:pt idx="19">
                  <c:v>68</c:v>
                </c:pt>
                <c:pt idx="20">
                  <c:v>77</c:v>
                </c:pt>
                <c:pt idx="21">
                  <c:v>35</c:v>
                </c:pt>
                <c:pt idx="22">
                  <c:v>29</c:v>
                </c:pt>
                <c:pt idx="23">
                  <c:v>57</c:v>
                </c:pt>
                <c:pt idx="24">
                  <c:v>59</c:v>
                </c:pt>
                <c:pt idx="25">
                  <c:v>61</c:v>
                </c:pt>
                <c:pt idx="26">
                  <c:v>38</c:v>
                </c:pt>
                <c:pt idx="27">
                  <c:v>40</c:v>
                </c:pt>
                <c:pt idx="28">
                  <c:v>19</c:v>
                </c:pt>
                <c:pt idx="29">
                  <c:v>27</c:v>
                </c:pt>
                <c:pt idx="30">
                  <c:v>41</c:v>
                </c:pt>
                <c:pt idx="31">
                  <c:v>28</c:v>
                </c:pt>
                <c:pt idx="32">
                  <c:v>38</c:v>
                </c:pt>
                <c:pt idx="33">
                  <c:v>20</c:v>
                </c:pt>
                <c:pt idx="34">
                  <c:v>28</c:v>
                </c:pt>
                <c:pt idx="35">
                  <c:v>16</c:v>
                </c:pt>
                <c:pt idx="36">
                  <c:v>12</c:v>
                </c:pt>
                <c:pt idx="37">
                  <c:v>14</c:v>
                </c:pt>
                <c:pt idx="38">
                  <c:v>23</c:v>
                </c:pt>
                <c:pt idx="39">
                  <c:v>15</c:v>
                </c:pt>
                <c:pt idx="40">
                  <c:v>18</c:v>
                </c:pt>
                <c:pt idx="41">
                  <c:v>10</c:v>
                </c:pt>
                <c:pt idx="42">
                  <c:v>8</c:v>
                </c:pt>
                <c:pt idx="43">
                  <c:v>5</c:v>
                </c:pt>
                <c:pt idx="44">
                  <c:v>9</c:v>
                </c:pt>
                <c:pt idx="45">
                  <c:v>9</c:v>
                </c:pt>
                <c:pt idx="46">
                  <c:v>6</c:v>
                </c:pt>
                <c:pt idx="47">
                  <c:v>24</c:v>
                </c:pt>
                <c:pt idx="48">
                  <c:v>8</c:v>
                </c:pt>
                <c:pt idx="49">
                  <c:v>10</c:v>
                </c:pt>
                <c:pt idx="50">
                  <c:v>2</c:v>
                </c:pt>
                <c:pt idx="51">
                  <c:v>8</c:v>
                </c:pt>
                <c:pt idx="52">
                  <c:v>7</c:v>
                </c:pt>
                <c:pt idx="53">
                  <c:v>7</c:v>
                </c:pt>
                <c:pt idx="54">
                  <c:v>4</c:v>
                </c:pt>
                <c:pt idx="55">
                  <c:v>6</c:v>
                </c:pt>
                <c:pt idx="56">
                  <c:v>1</c:v>
                </c:pt>
                <c:pt idx="57">
                  <c:v>2</c:v>
                </c:pt>
                <c:pt idx="58">
                  <c:v>7</c:v>
                </c:pt>
                <c:pt idx="59">
                  <c:v>2</c:v>
                </c:pt>
                <c:pt idx="60">
                  <c:v>10</c:v>
                </c:pt>
                <c:pt idx="61">
                  <c:v>4</c:v>
                </c:pt>
                <c:pt idx="62">
                  <c:v>2</c:v>
                </c:pt>
                <c:pt idx="63">
                  <c:v>2</c:v>
                </c:pt>
                <c:pt idx="64">
                  <c:v>3</c:v>
                </c:pt>
                <c:pt idx="65">
                  <c:v>2</c:v>
                </c:pt>
                <c:pt idx="67">
                  <c:v>8</c:v>
                </c:pt>
                <c:pt idx="68">
                  <c:v>4</c:v>
                </c:pt>
                <c:pt idx="69">
                  <c:v>4</c:v>
                </c:pt>
                <c:pt idx="70">
                  <c:v>3</c:v>
                </c:pt>
                <c:pt idx="71">
                  <c:v>5</c:v>
                </c:pt>
                <c:pt idx="7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8</c:f>
              <c:numCache>
                <c:formatCode>m/d/yyyy</c:formatCode>
                <c:ptCount val="12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</c:numCache>
            </c:numRef>
          </c:cat>
          <c:val>
            <c:numRef>
              <c:f>Sheet1!$C$2:$C$128</c:f>
              <c:numCache>
                <c:formatCode>General</c:formatCode>
                <c:ptCount val="127"/>
                <c:pt idx="0">
                  <c:v>197.37176117405326</c:v>
                </c:pt>
                <c:pt idx="1">
                  <c:v>185.14084426704912</c:v>
                </c:pt>
                <c:pt idx="2">
                  <c:v>177.61019697378626</c:v>
                </c:pt>
                <c:pt idx="3">
                  <c:v>169.18427515658644</c:v>
                </c:pt>
                <c:pt idx="4">
                  <c:v>160.20861098342189</c:v>
                </c:pt>
                <c:pt idx="5">
                  <c:v>151.09874868848689</c:v>
                </c:pt>
                <c:pt idx="6">
                  <c:v>141.43401567520209</c:v>
                </c:pt>
                <c:pt idx="7">
                  <c:v>131.75819782226895</c:v>
                </c:pt>
                <c:pt idx="8">
                  <c:v>123.1545042610922</c:v>
                </c:pt>
                <c:pt idx="9">
                  <c:v>115.36405129587926</c:v>
                </c:pt>
                <c:pt idx="10">
                  <c:v>108.1369932623421</c:v>
                </c:pt>
                <c:pt idx="11">
                  <c:v>101.51445156737505</c:v>
                </c:pt>
                <c:pt idx="12">
                  <c:v>95.437970742670217</c:v>
                </c:pt>
                <c:pt idx="13">
                  <c:v>89.594063499245891</c:v>
                </c:pt>
                <c:pt idx="14">
                  <c:v>84.104538928839474</c:v>
                </c:pt>
                <c:pt idx="15">
                  <c:v>79.049880044172568</c:v>
                </c:pt>
                <c:pt idx="16">
                  <c:v>74.351837911710476</c:v>
                </c:pt>
                <c:pt idx="17">
                  <c:v>69.882749437621058</c:v>
                </c:pt>
                <c:pt idx="18">
                  <c:v>65.719645260449013</c:v>
                </c:pt>
                <c:pt idx="19">
                  <c:v>61.795747563487431</c:v>
                </c:pt>
                <c:pt idx="20">
                  <c:v>58.062358939914951</c:v>
                </c:pt>
                <c:pt idx="21">
                  <c:v>54.517453671631444</c:v>
                </c:pt>
                <c:pt idx="22">
                  <c:v>51.184671694253666</c:v>
                </c:pt>
                <c:pt idx="23">
                  <c:v>48.08300970904844</c:v>
                </c:pt>
                <c:pt idx="24">
                  <c:v>45.182848916268824</c:v>
                </c:pt>
                <c:pt idx="25">
                  <c:v>42.476789294323915</c:v>
                </c:pt>
                <c:pt idx="26">
                  <c:v>39.902282900800088</c:v>
                </c:pt>
                <c:pt idx="27">
                  <c:v>37.468307828113581</c:v>
                </c:pt>
                <c:pt idx="28">
                  <c:v>35.184858033628053</c:v>
                </c:pt>
                <c:pt idx="29">
                  <c:v>33.038837288866745</c:v>
                </c:pt>
                <c:pt idx="30">
                  <c:v>31.019705659784456</c:v>
                </c:pt>
                <c:pt idx="31">
                  <c:v>29.135609603490497</c:v>
                </c:pt>
                <c:pt idx="32">
                  <c:v>27.365181805647403</c:v>
                </c:pt>
                <c:pt idx="33">
                  <c:v>25.69923791226077</c:v>
                </c:pt>
                <c:pt idx="34">
                  <c:v>24.13024674904668</c:v>
                </c:pt>
                <c:pt idx="35">
                  <c:v>22.652264353416317</c:v>
                </c:pt>
                <c:pt idx="36">
                  <c:v>21.261665423965848</c:v>
                </c:pt>
                <c:pt idx="37">
                  <c:v>19.954691578494536</c:v>
                </c:pt>
                <c:pt idx="38">
                  <c:v>18.819548793034226</c:v>
                </c:pt>
                <c:pt idx="39">
                  <c:v>17.816642941711503</c:v>
                </c:pt>
                <c:pt idx="40">
                  <c:v>16.912783032712529</c:v>
                </c:pt>
                <c:pt idx="41">
                  <c:v>16.089820422627351</c:v>
                </c:pt>
                <c:pt idx="42">
                  <c:v>15.337734645254734</c:v>
                </c:pt>
                <c:pt idx="43">
                  <c:v>14.652475634218046</c:v>
                </c:pt>
                <c:pt idx="44">
                  <c:v>14.030447159788743</c:v>
                </c:pt>
                <c:pt idx="45">
                  <c:v>13.46507998684514</c:v>
                </c:pt>
                <c:pt idx="46">
                  <c:v>12.947182973318787</c:v>
                </c:pt>
                <c:pt idx="47">
                  <c:v>12.468676278398018</c:v>
                </c:pt>
                <c:pt idx="48">
                  <c:v>12.022401535786683</c:v>
                </c:pt>
                <c:pt idx="49">
                  <c:v>11.602330694788099</c:v>
                </c:pt>
                <c:pt idx="50">
                  <c:v>11.203243094763653</c:v>
                </c:pt>
                <c:pt idx="51">
                  <c:v>10.821352512009637</c:v>
                </c:pt>
                <c:pt idx="52">
                  <c:v>10.453636157548454</c:v>
                </c:pt>
                <c:pt idx="53">
                  <c:v>10.097862910362068</c:v>
                </c:pt>
                <c:pt idx="54">
                  <c:v>9.7524000087844218</c:v>
                </c:pt>
                <c:pt idx="55">
                  <c:v>9.4158802562710946</c:v>
                </c:pt>
                <c:pt idx="56">
                  <c:v>9.0874037814845092</c:v>
                </c:pt>
                <c:pt idx="57">
                  <c:v>8.7662919563495834</c:v>
                </c:pt>
                <c:pt idx="58">
                  <c:v>8.7523237300448127</c:v>
                </c:pt>
                <c:pt idx="59">
                  <c:v>8.9475046320765586</c:v>
                </c:pt>
                <c:pt idx="60">
                  <c:v>9.261938808702741</c:v>
                </c:pt>
                <c:pt idx="61">
                  <c:v>9.6494057273653713</c:v>
                </c:pt>
                <c:pt idx="62">
                  <c:v>10.086979509206547</c:v>
                </c:pt>
                <c:pt idx="63">
                  <c:v>10.564898057239832</c:v>
                </c:pt>
                <c:pt idx="64">
                  <c:v>11.078574001865411</c:v>
                </c:pt>
                <c:pt idx="65">
                  <c:v>11.623776781309497</c:v>
                </c:pt>
                <c:pt idx="66">
                  <c:v>12.191815214220277</c:v>
                </c:pt>
                <c:pt idx="67">
                  <c:v>12.774821543205116</c:v>
                </c:pt>
                <c:pt idx="68">
                  <c:v>13.365054059092797</c:v>
                </c:pt>
                <c:pt idx="69">
                  <c:v>14.002821520311267</c:v>
                </c:pt>
                <c:pt idx="70">
                  <c:v>14.670827934199576</c:v>
                </c:pt>
                <c:pt idx="71">
                  <c:v>15.34812988373019</c:v>
                </c:pt>
                <c:pt idx="72">
                  <c:v>16.020047735479071</c:v>
                </c:pt>
                <c:pt idx="73">
                  <c:v>16.676709254984161</c:v>
                </c:pt>
                <c:pt idx="74">
                  <c:v>17.311722356185903</c:v>
                </c:pt>
                <c:pt idx="75">
                  <c:v>17.921759722410044</c:v>
                </c:pt>
                <c:pt idx="76">
                  <c:v>18.504914189717926</c:v>
                </c:pt>
                <c:pt idx="77">
                  <c:v>19.060418891888951</c:v>
                </c:pt>
                <c:pt idx="78">
                  <c:v>19.588548715404382</c:v>
                </c:pt>
                <c:pt idx="79">
                  <c:v>20.089913771354368</c:v>
                </c:pt>
                <c:pt idx="80">
                  <c:v>20.565101008184296</c:v>
                </c:pt>
                <c:pt idx="81">
                  <c:v>21.015241806456984</c:v>
                </c:pt>
                <c:pt idx="82">
                  <c:v>21.441716626273639</c:v>
                </c:pt>
                <c:pt idx="83">
                  <c:v>21.845898534895127</c:v>
                </c:pt>
                <c:pt idx="84">
                  <c:v>22.229154267228914</c:v>
                </c:pt>
                <c:pt idx="85">
                  <c:v>22.592889370126112</c:v>
                </c:pt>
                <c:pt idx="86">
                  <c:v>22.938537363920556</c:v>
                </c:pt>
                <c:pt idx="87">
                  <c:v>23.267357184078424</c:v>
                </c:pt>
                <c:pt idx="88">
                  <c:v>23.580676004178272</c:v>
                </c:pt>
                <c:pt idx="89">
                  <c:v>23.879576868335345</c:v>
                </c:pt>
                <c:pt idx="90">
                  <c:v>24.165158771022323</c:v>
                </c:pt>
                <c:pt idx="91">
                  <c:v>24.438448383048339</c:v>
                </c:pt>
                <c:pt idx="92">
                  <c:v>24.700370181123255</c:v>
                </c:pt>
                <c:pt idx="93">
                  <c:v>24.951951183217286</c:v>
                </c:pt>
                <c:pt idx="94">
                  <c:v>25.194008835507795</c:v>
                </c:pt>
                <c:pt idx="95">
                  <c:v>25.427289550208322</c:v>
                </c:pt>
                <c:pt idx="96">
                  <c:v>25.652460879152656</c:v>
                </c:pt>
                <c:pt idx="97">
                  <c:v>25.870136933863098</c:v>
                </c:pt>
                <c:pt idx="98">
                  <c:v>26.080905715007596</c:v>
                </c:pt>
                <c:pt idx="99">
                  <c:v>26.285305289648242</c:v>
                </c:pt>
                <c:pt idx="100">
                  <c:v>26.483393361387115</c:v>
                </c:pt>
                <c:pt idx="101">
                  <c:v>26.675292647815557</c:v>
                </c:pt>
                <c:pt idx="102">
                  <c:v>26.861134501553654</c:v>
                </c:pt>
                <c:pt idx="103">
                  <c:v>27.041110746864486</c:v>
                </c:pt>
                <c:pt idx="104">
                  <c:v>27.215393923090073</c:v>
                </c:pt>
                <c:pt idx="105">
                  <c:v>27.384058934197974</c:v>
                </c:pt>
                <c:pt idx="106">
                  <c:v>27.547108532831029</c:v>
                </c:pt>
                <c:pt idx="107">
                  <c:v>27.704499256945581</c:v>
                </c:pt>
                <c:pt idx="108">
                  <c:v>27.856169239794976</c:v>
                </c:pt>
                <c:pt idx="109">
                  <c:v>28.00204644694648</c:v>
                </c:pt>
                <c:pt idx="110">
                  <c:v>28.1420525262997</c:v>
                </c:pt>
                <c:pt idx="111">
                  <c:v>28.276098458207137</c:v>
                </c:pt>
                <c:pt idx="112">
                  <c:v>28.404084379996743</c:v>
                </c:pt>
                <c:pt idx="113">
                  <c:v>28.525898500340372</c:v>
                </c:pt>
                <c:pt idx="114">
                  <c:v>28.641419653622432</c:v>
                </c:pt>
                <c:pt idx="115">
                  <c:v>28.750519047263868</c:v>
                </c:pt>
                <c:pt idx="116">
                  <c:v>28.853243653366874</c:v>
                </c:pt>
                <c:pt idx="117">
                  <c:v>28.949587057580022</c:v>
                </c:pt>
                <c:pt idx="118">
                  <c:v>29.039520944943089</c:v>
                </c:pt>
                <c:pt idx="119">
                  <c:v>29.123024076078462</c:v>
                </c:pt>
                <c:pt idx="120">
                  <c:v>29.200092063890857</c:v>
                </c:pt>
                <c:pt idx="121">
                  <c:v>29.270958643128228</c:v>
                </c:pt>
                <c:pt idx="122">
                  <c:v>29.335812739407451</c:v>
                </c:pt>
                <c:pt idx="123">
                  <c:v>29.394830334523853</c:v>
                </c:pt>
                <c:pt idx="124">
                  <c:v>29.448197836826893</c:v>
                </c:pt>
                <c:pt idx="125">
                  <c:v>29.496119360278932</c:v>
                </c:pt>
                <c:pt idx="126">
                  <c:v>29.5388179644238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A$2:$A$128</c:f>
              <c:numCache>
                <c:formatCode>m/d/yyyy</c:formatCode>
                <c:ptCount val="12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</c:numCache>
            </c:numRef>
          </c:cat>
          <c:val>
            <c:numRef>
              <c:f>Sheet1!$D$2:$D$128</c:f>
              <c:numCache>
                <c:formatCode>General</c:formatCode>
                <c:ptCount val="127"/>
                <c:pt idx="0">
                  <c:v>197.37176117405326</c:v>
                </c:pt>
                <c:pt idx="1">
                  <c:v>185.14084426704912</c:v>
                </c:pt>
                <c:pt idx="2">
                  <c:v>177.61019697378626</c:v>
                </c:pt>
                <c:pt idx="3">
                  <c:v>169.18427515658644</c:v>
                </c:pt>
                <c:pt idx="4">
                  <c:v>160.20861098342189</c:v>
                </c:pt>
                <c:pt idx="5">
                  <c:v>151.09874868848689</c:v>
                </c:pt>
                <c:pt idx="6">
                  <c:v>141.43401567520209</c:v>
                </c:pt>
                <c:pt idx="7">
                  <c:v>131.75819782226895</c:v>
                </c:pt>
                <c:pt idx="8">
                  <c:v>123.1545042610922</c:v>
                </c:pt>
                <c:pt idx="9">
                  <c:v>115.36405129587926</c:v>
                </c:pt>
                <c:pt idx="10">
                  <c:v>108.1369932623421</c:v>
                </c:pt>
                <c:pt idx="11">
                  <c:v>101.51445156737505</c:v>
                </c:pt>
                <c:pt idx="12">
                  <c:v>95.437970742670217</c:v>
                </c:pt>
                <c:pt idx="13">
                  <c:v>89.594063499245891</c:v>
                </c:pt>
                <c:pt idx="14">
                  <c:v>84.104538928839474</c:v>
                </c:pt>
                <c:pt idx="15">
                  <c:v>79.049880044172568</c:v>
                </c:pt>
                <c:pt idx="16">
                  <c:v>74.351837911710476</c:v>
                </c:pt>
                <c:pt idx="17">
                  <c:v>69.882749437621058</c:v>
                </c:pt>
                <c:pt idx="18">
                  <c:v>65.719645260449013</c:v>
                </c:pt>
                <c:pt idx="19">
                  <c:v>61.795747563487431</c:v>
                </c:pt>
                <c:pt idx="20">
                  <c:v>58.062358939914951</c:v>
                </c:pt>
                <c:pt idx="21">
                  <c:v>54.517453671631444</c:v>
                </c:pt>
                <c:pt idx="22">
                  <c:v>51.184671694253666</c:v>
                </c:pt>
                <c:pt idx="23">
                  <c:v>48.08300970904844</c:v>
                </c:pt>
                <c:pt idx="24">
                  <c:v>45.182848916268824</c:v>
                </c:pt>
                <c:pt idx="25">
                  <c:v>42.476789294323915</c:v>
                </c:pt>
                <c:pt idx="26">
                  <c:v>39.902282900800088</c:v>
                </c:pt>
                <c:pt idx="27">
                  <c:v>37.468307828113581</c:v>
                </c:pt>
                <c:pt idx="28">
                  <c:v>35.184858033628053</c:v>
                </c:pt>
                <c:pt idx="29">
                  <c:v>33.038837288866745</c:v>
                </c:pt>
                <c:pt idx="30">
                  <c:v>31.019705659784456</c:v>
                </c:pt>
                <c:pt idx="31">
                  <c:v>29.135609603490497</c:v>
                </c:pt>
                <c:pt idx="32">
                  <c:v>27.365181805647403</c:v>
                </c:pt>
                <c:pt idx="33">
                  <c:v>25.69923791226077</c:v>
                </c:pt>
                <c:pt idx="34">
                  <c:v>24.13024674904668</c:v>
                </c:pt>
                <c:pt idx="35">
                  <c:v>22.652264353416317</c:v>
                </c:pt>
                <c:pt idx="36">
                  <c:v>21.261665423965848</c:v>
                </c:pt>
                <c:pt idx="37">
                  <c:v>19.954691578494536</c:v>
                </c:pt>
                <c:pt idx="38">
                  <c:v>18.819548793034226</c:v>
                </c:pt>
                <c:pt idx="39">
                  <c:v>17.816642941711503</c:v>
                </c:pt>
                <c:pt idx="40">
                  <c:v>16.912783032712529</c:v>
                </c:pt>
                <c:pt idx="41">
                  <c:v>16.089820422627351</c:v>
                </c:pt>
                <c:pt idx="42">
                  <c:v>15.337734645254734</c:v>
                </c:pt>
                <c:pt idx="43">
                  <c:v>14.652475634218046</c:v>
                </c:pt>
                <c:pt idx="44">
                  <c:v>14.030447159788743</c:v>
                </c:pt>
                <c:pt idx="45">
                  <c:v>13.46507998684514</c:v>
                </c:pt>
                <c:pt idx="46">
                  <c:v>12.947182973318787</c:v>
                </c:pt>
                <c:pt idx="47">
                  <c:v>12.468676278398018</c:v>
                </c:pt>
                <c:pt idx="48">
                  <c:v>12.022401535786683</c:v>
                </c:pt>
                <c:pt idx="49">
                  <c:v>11.602330694788099</c:v>
                </c:pt>
                <c:pt idx="50">
                  <c:v>11.203243094763653</c:v>
                </c:pt>
                <c:pt idx="51">
                  <c:v>10.821352512009637</c:v>
                </c:pt>
                <c:pt idx="52">
                  <c:v>10.453636157548454</c:v>
                </c:pt>
                <c:pt idx="53">
                  <c:v>10.097862910362068</c:v>
                </c:pt>
                <c:pt idx="54">
                  <c:v>9.7524000087844218</c:v>
                </c:pt>
                <c:pt idx="55">
                  <c:v>9.4158802562710946</c:v>
                </c:pt>
                <c:pt idx="56">
                  <c:v>9.0874037814845092</c:v>
                </c:pt>
                <c:pt idx="57">
                  <c:v>8.7662919563495834</c:v>
                </c:pt>
                <c:pt idx="58">
                  <c:v>8.7523237300448127</c:v>
                </c:pt>
                <c:pt idx="59">
                  <c:v>9.0359897306849515</c:v>
                </c:pt>
                <c:pt idx="60">
                  <c:v>9.5018868858629659</c:v>
                </c:pt>
                <c:pt idx="61">
                  <c:v>10.085507254726602</c:v>
                </c:pt>
                <c:pt idx="62">
                  <c:v>10.758380003237228</c:v>
                </c:pt>
                <c:pt idx="63">
                  <c:v>11.510531911925073</c:v>
                </c:pt>
                <c:pt idx="64">
                  <c:v>12.339598638166514</c:v>
                </c:pt>
                <c:pt idx="65">
                  <c:v>13.243869322734907</c:v>
                </c:pt>
                <c:pt idx="66">
                  <c:v>14.216526483122813</c:v>
                </c:pt>
                <c:pt idx="67">
                  <c:v>15.249558512790662</c:v>
                </c:pt>
                <c:pt idx="68">
                  <c:v>16.334943263447947</c:v>
                </c:pt>
                <c:pt idx="69">
                  <c:v>17.536209129604799</c:v>
                </c:pt>
                <c:pt idx="70">
                  <c:v>18.831468243443066</c:v>
                </c:pt>
                <c:pt idx="71">
                  <c:v>20.191323308582728</c:v>
                </c:pt>
                <c:pt idx="72">
                  <c:v>21.595003424899335</c:v>
                </c:pt>
                <c:pt idx="73">
                  <c:v>23.028416753062906</c:v>
                </c:pt>
                <c:pt idx="74">
                  <c:v>24.482339681863724</c:v>
                </c:pt>
                <c:pt idx="75">
                  <c:v>25.951705367190922</c:v>
                </c:pt>
                <c:pt idx="76">
                  <c:v>27.43335888981461</c:v>
                </c:pt>
                <c:pt idx="77">
                  <c:v>28.925603068006033</c:v>
                </c:pt>
                <c:pt idx="78">
                  <c:v>30.428151073064885</c:v>
                </c:pt>
                <c:pt idx="79">
                  <c:v>31.941294342428282</c:v>
                </c:pt>
                <c:pt idx="80">
                  <c:v>33.465254534743401</c:v>
                </c:pt>
                <c:pt idx="81">
                  <c:v>35.001189617738781</c:v>
                </c:pt>
                <c:pt idx="82">
                  <c:v>36.550629029833075</c:v>
                </c:pt>
                <c:pt idx="83">
                  <c:v>38.115187481960682</c:v>
                </c:pt>
                <c:pt idx="84">
                  <c:v>39.696658645723282</c:v>
                </c:pt>
                <c:pt idx="85">
                  <c:v>41.29690946420849</c:v>
                </c:pt>
                <c:pt idx="86">
                  <c:v>42.917921692976861</c:v>
                </c:pt>
                <c:pt idx="87">
                  <c:v>44.561501942329954</c:v>
                </c:pt>
                <c:pt idx="88">
                  <c:v>46.229664391452211</c:v>
                </c:pt>
                <c:pt idx="89">
                  <c:v>47.924231270438341</c:v>
                </c:pt>
                <c:pt idx="90">
                  <c:v>49.647065898857988</c:v>
                </c:pt>
                <c:pt idx="91">
                  <c:v>51.400001472907462</c:v>
                </c:pt>
                <c:pt idx="92">
                  <c:v>53.184776850327992</c:v>
                </c:pt>
                <c:pt idx="93">
                  <c:v>55.003522275892834</c:v>
                </c:pt>
                <c:pt idx="94">
                  <c:v>56.858053097375276</c:v>
                </c:pt>
                <c:pt idx="95">
                  <c:v>58.75012082167914</c:v>
                </c:pt>
                <c:pt idx="96">
                  <c:v>60.681429810438722</c:v>
                </c:pt>
                <c:pt idx="97">
                  <c:v>62.653676004491487</c:v>
                </c:pt>
                <c:pt idx="98">
                  <c:v>64.668582276581503</c:v>
                </c:pt>
                <c:pt idx="99">
                  <c:v>66.72785308290905</c:v>
                </c:pt>
                <c:pt idx="100">
                  <c:v>68.831866484006582</c:v>
                </c:pt>
                <c:pt idx="101">
                  <c:v>70.98125120479358</c:v>
                </c:pt>
                <c:pt idx="102">
                  <c:v>73.176674495642374</c:v>
                </c:pt>
                <c:pt idx="103">
                  <c:v>75.419017350234924</c:v>
                </c:pt>
                <c:pt idx="104">
                  <c:v>77.709122569955269</c:v>
                </c:pt>
                <c:pt idx="105">
                  <c:v>80.047533965586624</c:v>
                </c:pt>
                <c:pt idx="106">
                  <c:v>82.434563666329694</c:v>
                </c:pt>
                <c:pt idx="107">
                  <c:v>84.87035757883416</c:v>
                </c:pt>
                <c:pt idx="108">
                  <c:v>87.354966169513347</c:v>
                </c:pt>
                <c:pt idx="109">
                  <c:v>89.888356985813417</c:v>
                </c:pt>
                <c:pt idx="110">
                  <c:v>92.47041707181711</c:v>
                </c:pt>
                <c:pt idx="111">
                  <c:v>95.100930521224896</c:v>
                </c:pt>
                <c:pt idx="112">
                  <c:v>97.779570982716507</c:v>
                </c:pt>
                <c:pt idx="113">
                  <c:v>100.50589236198169</c:v>
                </c:pt>
                <c:pt idx="114">
                  <c:v>103.27933195516593</c:v>
                </c:pt>
                <c:pt idx="115">
                  <c:v>106.09921137756304</c:v>
                </c:pt>
                <c:pt idx="116">
                  <c:v>108.96556069299579</c:v>
                </c:pt>
                <c:pt idx="117">
                  <c:v>111.87810721299847</c:v>
                </c:pt>
                <c:pt idx="118">
                  <c:v>114.83643074755423</c:v>
                </c:pt>
                <c:pt idx="119">
                  <c:v>117.84009287396748</c:v>
                </c:pt>
                <c:pt idx="120">
                  <c:v>120.88867871158476</c:v>
                </c:pt>
                <c:pt idx="121">
                  <c:v>123.9829174110115</c:v>
                </c:pt>
                <c:pt idx="122">
                  <c:v>127.12329791496875</c:v>
                </c:pt>
                <c:pt idx="123">
                  <c:v>130.31026026650179</c:v>
                </c:pt>
                <c:pt idx="124">
                  <c:v>133.5443260712496</c:v>
                </c:pt>
                <c:pt idx="125">
                  <c:v>136.8261384272457</c:v>
                </c:pt>
                <c:pt idx="126">
                  <c:v>140.15646998372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28</c:f>
              <c:numCache>
                <c:formatCode>m/d/yyyy</c:formatCode>
                <c:ptCount val="12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</c:numCache>
            </c:numRef>
          </c:cat>
          <c:val>
            <c:numRef>
              <c:f>Sheet1!$F$2:$F$128</c:f>
              <c:numCache>
                <c:formatCode>General</c:formatCode>
                <c:ptCount val="127"/>
                <c:pt idx="0">
                  <c:v>197.37176117405326</c:v>
                </c:pt>
                <c:pt idx="1">
                  <c:v>185.14084426704912</c:v>
                </c:pt>
                <c:pt idx="2">
                  <c:v>177.61019697378626</c:v>
                </c:pt>
                <c:pt idx="3">
                  <c:v>169.18427515658644</c:v>
                </c:pt>
                <c:pt idx="4">
                  <c:v>160.20861098342189</c:v>
                </c:pt>
                <c:pt idx="5">
                  <c:v>151.09874868848689</c:v>
                </c:pt>
                <c:pt idx="6">
                  <c:v>141.43401567520209</c:v>
                </c:pt>
                <c:pt idx="7">
                  <c:v>131.75819782226895</c:v>
                </c:pt>
                <c:pt idx="8">
                  <c:v>123.1545042610922</c:v>
                </c:pt>
                <c:pt idx="9">
                  <c:v>115.36405129587926</c:v>
                </c:pt>
                <c:pt idx="10">
                  <c:v>108.1369932623421</c:v>
                </c:pt>
                <c:pt idx="11">
                  <c:v>101.51445156737505</c:v>
                </c:pt>
                <c:pt idx="12">
                  <c:v>95.437970742670217</c:v>
                </c:pt>
                <c:pt idx="13">
                  <c:v>89.594063499245891</c:v>
                </c:pt>
                <c:pt idx="14">
                  <c:v>84.104538928839474</c:v>
                </c:pt>
                <c:pt idx="15">
                  <c:v>79.049880044172568</c:v>
                </c:pt>
                <c:pt idx="16">
                  <c:v>74.351837911710476</c:v>
                </c:pt>
                <c:pt idx="17">
                  <c:v>69.882749437621058</c:v>
                </c:pt>
                <c:pt idx="18">
                  <c:v>65.719645260449013</c:v>
                </c:pt>
                <c:pt idx="19">
                  <c:v>61.795747563487431</c:v>
                </c:pt>
                <c:pt idx="20">
                  <c:v>58.062358939914951</c:v>
                </c:pt>
                <c:pt idx="21">
                  <c:v>54.517453671631444</c:v>
                </c:pt>
                <c:pt idx="22">
                  <c:v>51.184671694253666</c:v>
                </c:pt>
                <c:pt idx="23">
                  <c:v>48.08300970904844</c:v>
                </c:pt>
                <c:pt idx="24">
                  <c:v>45.182848916268824</c:v>
                </c:pt>
                <c:pt idx="25">
                  <c:v>42.476789294323915</c:v>
                </c:pt>
                <c:pt idx="26">
                  <c:v>39.902282900800088</c:v>
                </c:pt>
                <c:pt idx="27">
                  <c:v>37.468307828113581</c:v>
                </c:pt>
                <c:pt idx="28">
                  <c:v>35.184858033628053</c:v>
                </c:pt>
                <c:pt idx="29">
                  <c:v>33.038837288866745</c:v>
                </c:pt>
                <c:pt idx="30">
                  <c:v>31.019705659784456</c:v>
                </c:pt>
                <c:pt idx="31">
                  <c:v>29.135609603490497</c:v>
                </c:pt>
                <c:pt idx="32">
                  <c:v>27.365181805647403</c:v>
                </c:pt>
                <c:pt idx="33">
                  <c:v>25.69923791226077</c:v>
                </c:pt>
                <c:pt idx="34">
                  <c:v>24.13024674904668</c:v>
                </c:pt>
                <c:pt idx="35">
                  <c:v>22.652264353416317</c:v>
                </c:pt>
                <c:pt idx="36">
                  <c:v>21.261665423965848</c:v>
                </c:pt>
                <c:pt idx="37">
                  <c:v>19.954691578494536</c:v>
                </c:pt>
                <c:pt idx="38">
                  <c:v>18.819548793034226</c:v>
                </c:pt>
                <c:pt idx="39">
                  <c:v>17.816642941711503</c:v>
                </c:pt>
                <c:pt idx="40">
                  <c:v>16.912783032712529</c:v>
                </c:pt>
                <c:pt idx="41">
                  <c:v>16.089820422627351</c:v>
                </c:pt>
                <c:pt idx="42">
                  <c:v>15.337734645254734</c:v>
                </c:pt>
                <c:pt idx="43">
                  <c:v>14.652475634218046</c:v>
                </c:pt>
                <c:pt idx="44">
                  <c:v>14.030447159788743</c:v>
                </c:pt>
                <c:pt idx="45">
                  <c:v>13.46507998684514</c:v>
                </c:pt>
                <c:pt idx="46">
                  <c:v>12.947182973318787</c:v>
                </c:pt>
                <c:pt idx="47">
                  <c:v>12.468676278398018</c:v>
                </c:pt>
                <c:pt idx="48">
                  <c:v>12.022401535786683</c:v>
                </c:pt>
                <c:pt idx="49">
                  <c:v>11.602330694788099</c:v>
                </c:pt>
                <c:pt idx="50">
                  <c:v>11.203243094763653</c:v>
                </c:pt>
                <c:pt idx="51">
                  <c:v>10.821352512009637</c:v>
                </c:pt>
                <c:pt idx="52">
                  <c:v>10.453636157548454</c:v>
                </c:pt>
                <c:pt idx="53">
                  <c:v>10.097862910362068</c:v>
                </c:pt>
                <c:pt idx="54">
                  <c:v>9.7524000087844218</c:v>
                </c:pt>
                <c:pt idx="55">
                  <c:v>9.4158802562710946</c:v>
                </c:pt>
                <c:pt idx="56">
                  <c:v>9.0874037814845092</c:v>
                </c:pt>
                <c:pt idx="57">
                  <c:v>8.7662919563495834</c:v>
                </c:pt>
                <c:pt idx="58">
                  <c:v>8.4521519662632354</c:v>
                </c:pt>
                <c:pt idx="59">
                  <c:v>8.1446065806119154</c:v>
                </c:pt>
                <c:pt idx="60">
                  <c:v>7.843378939272414</c:v>
                </c:pt>
                <c:pt idx="61">
                  <c:v>7.5483303001406155</c:v>
                </c:pt>
                <c:pt idx="62">
                  <c:v>7.2593913273476485</c:v>
                </c:pt>
                <c:pt idx="63">
                  <c:v>6.9765810485962545</c:v>
                </c:pt>
                <c:pt idx="64">
                  <c:v>6.6998481245276453</c:v>
                </c:pt>
                <c:pt idx="65">
                  <c:v>6.4292372469121286</c:v>
                </c:pt>
                <c:pt idx="66">
                  <c:v>6.1648093800516017</c:v>
                </c:pt>
                <c:pt idx="67">
                  <c:v>5.9066035092806928</c:v>
                </c:pt>
                <c:pt idx="68">
                  <c:v>5.6546837166480035</c:v>
                </c:pt>
                <c:pt idx="69">
                  <c:v>5.4081890763998732</c:v>
                </c:pt>
                <c:pt idx="70">
                  <c:v>5.1670145310298885</c:v>
                </c:pt>
                <c:pt idx="71">
                  <c:v>4.9305399134739751</c:v>
                </c:pt>
                <c:pt idx="72">
                  <c:v>4.6981872883666975</c:v>
                </c:pt>
                <c:pt idx="73">
                  <c:v>4.4695375191179938</c:v>
                </c:pt>
                <c:pt idx="74">
                  <c:v>4.2443276760706512</c:v>
                </c:pt>
                <c:pt idx="75">
                  <c:v>4.0225841783060163</c:v>
                </c:pt>
                <c:pt idx="76">
                  <c:v>3.8045235841606324</c:v>
                </c:pt>
                <c:pt idx="77">
                  <c:v>3.59066527483516</c:v>
                </c:pt>
                <c:pt idx="78">
                  <c:v>3.3816510520857084</c:v>
                </c:pt>
                <c:pt idx="79">
                  <c:v>3.178181963545935</c:v>
                </c:pt>
                <c:pt idx="80">
                  <c:v>2.9808504314010729</c:v>
                </c:pt>
                <c:pt idx="81">
                  <c:v>2.7903086337445351</c:v>
                </c:pt>
                <c:pt idx="82">
                  <c:v>2.6070380321043984</c:v>
                </c:pt>
                <c:pt idx="83">
                  <c:v>2.4313898988316267</c:v>
                </c:pt>
                <c:pt idx="84">
                  <c:v>2.2636513806029877</c:v>
                </c:pt>
                <c:pt idx="85">
                  <c:v>2.1040161013303615</c:v>
                </c:pt>
                <c:pt idx="86">
                  <c:v>1.9525823617868756</c:v>
                </c:pt>
                <c:pt idx="87">
                  <c:v>1.8093324421366135</c:v>
                </c:pt>
                <c:pt idx="88">
                  <c:v>1.6741972068289905</c:v>
                </c:pt>
                <c:pt idx="89">
                  <c:v>1.547038250997065</c:v>
                </c:pt>
                <c:pt idx="90">
                  <c:v>1.4276821612293262</c:v>
                </c:pt>
                <c:pt idx="91">
                  <c:v>1.3159147341215114</c:v>
                </c:pt>
                <c:pt idx="92">
                  <c:v>1.2114810273466394</c:v>
                </c:pt>
                <c:pt idx="93">
                  <c:v>1.1141258467243274</c:v>
                </c:pt>
                <c:pt idx="94">
                  <c:v>1.0235482310466566</c:v>
                </c:pt>
                <c:pt idx="95">
                  <c:v>0.93943390920031555</c:v>
                </c:pt>
                <c:pt idx="96">
                  <c:v>0.86144964109816025</c:v>
                </c:pt>
                <c:pt idx="97">
                  <c:v>0.78925752721387155</c:v>
                </c:pt>
                <c:pt idx="98">
                  <c:v>0.72252599829727104</c:v>
                </c:pt>
                <c:pt idx="99">
                  <c:v>0.6609270644982238</c:v>
                </c:pt>
                <c:pt idx="100">
                  <c:v>0.60409835510654997</c:v>
                </c:pt>
                <c:pt idx="101">
                  <c:v>0.55170470142103134</c:v>
                </c:pt>
                <c:pt idx="102">
                  <c:v>0.50343599077314671</c:v>
                </c:pt>
                <c:pt idx="103">
                  <c:v>0.45900729866177914</c:v>
                </c:pt>
                <c:pt idx="104">
                  <c:v>0.41815134354297057</c:v>
                </c:pt>
                <c:pt idx="105">
                  <c:v>0.38061143138082532</c:v>
                </c:pt>
                <c:pt idx="106">
                  <c:v>0.34614286570484198</c:v>
                </c:pt>
                <c:pt idx="107">
                  <c:v>0.31451478654521986</c:v>
                </c:pt>
                <c:pt idx="108">
                  <c:v>0.28551236466149887</c:v>
                </c:pt>
                <c:pt idx="109">
                  <c:v>0.25893677397963188</c:v>
                </c:pt>
                <c:pt idx="110">
                  <c:v>0.23460434930399332</c:v>
                </c:pt>
                <c:pt idx="111">
                  <c:v>0.21234504978993457</c:v>
                </c:pt>
                <c:pt idx="112">
                  <c:v>0.19200118624937249</c:v>
                </c:pt>
                <c:pt idx="113">
                  <c:v>0.17342609528315578</c:v>
                </c:pt>
                <c:pt idx="114">
                  <c:v>0.15648322656180433</c:v>
                </c:pt>
                <c:pt idx="115">
                  <c:v>0.14104531075645527</c:v>
                </c:pt>
                <c:pt idx="116">
                  <c:v>0.12699708505260218</c:v>
                </c:pt>
                <c:pt idx="117">
                  <c:v>0.11422971224121427</c:v>
                </c:pt>
                <c:pt idx="118">
                  <c:v>0.10264068635134156</c:v>
                </c:pt>
                <c:pt idx="119">
                  <c:v>9.2134037159937454E-2</c:v>
                </c:pt>
                <c:pt idx="120">
                  <c:v>8.2620226117434123E-2</c:v>
                </c:pt>
                <c:pt idx="121">
                  <c:v>7.4017848416319851E-2</c:v>
                </c:pt>
                <c:pt idx="122">
                  <c:v>6.6250442002085921E-2</c:v>
                </c:pt>
                <c:pt idx="123">
                  <c:v>5.9246367717802853E-2</c:v>
                </c:pt>
                <c:pt idx="124">
                  <c:v>5.2938728705049273E-2</c:v>
                </c:pt>
                <c:pt idx="125">
                  <c:v>4.7265270311909899E-2</c:v>
                </c:pt>
                <c:pt idx="126">
                  <c:v>4.216831096075532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3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778605280974949E-2"/>
          <c:y val="2.9171253341720396E-2"/>
          <c:w val="0.91251364292647907"/>
          <c:h val="0.90319114640666776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rocenta 2 davka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87</c:f>
              <c:numCache>
                <c:formatCode>General</c:formatCode>
                <c:ptCount val="8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</c:numCache>
            </c:numRef>
          </c:cat>
          <c:val>
            <c:numRef>
              <c:f>List1!$B$2:$B$87</c:f>
              <c:numCache>
                <c:formatCode>0.0000000%</c:formatCode>
                <c:ptCount val="86"/>
                <c:pt idx="0">
                  <c:v>0</c:v>
                </c:pt>
                <c:pt idx="1">
                  <c:v>1.2925734931436731E-6</c:v>
                </c:pt>
                <c:pt idx="2">
                  <c:v>5.1702939725746922E-7</c:v>
                </c:pt>
                <c:pt idx="3">
                  <c:v>1.0340587945149384E-6</c:v>
                </c:pt>
                <c:pt idx="4">
                  <c:v>2.3266322876586115E-6</c:v>
                </c:pt>
                <c:pt idx="5">
                  <c:v>1.8096028904011424E-6</c:v>
                </c:pt>
                <c:pt idx="6">
                  <c:v>3.1021763835448155E-6</c:v>
                </c:pt>
                <c:pt idx="7">
                  <c:v>2.0681175890298769E-6</c:v>
                </c:pt>
                <c:pt idx="8">
                  <c:v>3.1021763835448155E-6</c:v>
                </c:pt>
                <c:pt idx="9">
                  <c:v>1.2925734931436731E-6</c:v>
                </c:pt>
                <c:pt idx="10">
                  <c:v>3.1021763835448155E-6</c:v>
                </c:pt>
                <c:pt idx="11">
                  <c:v>2.0681175890298769E-6</c:v>
                </c:pt>
                <c:pt idx="12">
                  <c:v>2.0681175890298769E-6</c:v>
                </c:pt>
                <c:pt idx="13">
                  <c:v>2.0681175890298769E-6</c:v>
                </c:pt>
                <c:pt idx="14">
                  <c:v>1.8096028904011424E-6</c:v>
                </c:pt>
                <c:pt idx="15">
                  <c:v>1.2925734931436731E-6</c:v>
                </c:pt>
                <c:pt idx="16">
                  <c:v>1.5510881917724078E-6</c:v>
                </c:pt>
                <c:pt idx="17">
                  <c:v>2.5851469862873461E-7</c:v>
                </c:pt>
                <c:pt idx="18">
                  <c:v>7.7554409588620388E-7</c:v>
                </c:pt>
                <c:pt idx="19">
                  <c:v>1.5510881917724078E-6</c:v>
                </c:pt>
                <c:pt idx="20">
                  <c:v>1.2925734931436731E-6</c:v>
                </c:pt>
                <c:pt idx="21">
                  <c:v>1.0340587945149384E-6</c:v>
                </c:pt>
                <c:pt idx="22">
                  <c:v>2.0681175890298769E-6</c:v>
                </c:pt>
                <c:pt idx="23">
                  <c:v>1.2925734931436731E-6</c:v>
                </c:pt>
                <c:pt idx="24">
                  <c:v>1.0340587945149384E-6</c:v>
                </c:pt>
                <c:pt idx="25">
                  <c:v>7.7554409588620388E-7</c:v>
                </c:pt>
                <c:pt idx="26">
                  <c:v>7.7554409588620388E-7</c:v>
                </c:pt>
                <c:pt idx="27">
                  <c:v>1.8096028904011424E-6</c:v>
                </c:pt>
                <c:pt idx="28">
                  <c:v>5.1702939725746922E-7</c:v>
                </c:pt>
                <c:pt idx="29">
                  <c:v>5.1702939725746922E-7</c:v>
                </c:pt>
                <c:pt idx="30">
                  <c:v>5.1702939725746922E-7</c:v>
                </c:pt>
                <c:pt idx="31">
                  <c:v>2.5851469862873461E-7</c:v>
                </c:pt>
                <c:pt idx="32">
                  <c:v>7.7554409588620388E-7</c:v>
                </c:pt>
                <c:pt idx="33">
                  <c:v>1.0340587945149384E-6</c:v>
                </c:pt>
                <c:pt idx="34">
                  <c:v>7.7554409588620388E-7</c:v>
                </c:pt>
                <c:pt idx="35">
                  <c:v>5.1702939725746922E-7</c:v>
                </c:pt>
                <c:pt idx="36">
                  <c:v>7.7554409588620388E-7</c:v>
                </c:pt>
                <c:pt idx="37">
                  <c:v>2.5851469862873461E-7</c:v>
                </c:pt>
                <c:pt idx="38">
                  <c:v>1.0340587945149384E-6</c:v>
                </c:pt>
                <c:pt idx="39">
                  <c:v>1.2925734931436731E-6</c:v>
                </c:pt>
                <c:pt idx="40">
                  <c:v>7.7554409588620388E-7</c:v>
                </c:pt>
                <c:pt idx="41">
                  <c:v>1.0340587945149384E-6</c:v>
                </c:pt>
                <c:pt idx="42">
                  <c:v>7.7554409588620388E-7</c:v>
                </c:pt>
                <c:pt idx="43">
                  <c:v>5.1702939725746922E-7</c:v>
                </c:pt>
                <c:pt idx="44">
                  <c:v>5.1702939725746922E-7</c:v>
                </c:pt>
                <c:pt idx="45">
                  <c:v>7.7554409588620388E-7</c:v>
                </c:pt>
                <c:pt idx="46">
                  <c:v>1.0340587945149384E-6</c:v>
                </c:pt>
                <c:pt idx="47">
                  <c:v>7.7554409588620388E-7</c:v>
                </c:pt>
                <c:pt idx="48">
                  <c:v>7.7554409588620388E-7</c:v>
                </c:pt>
                <c:pt idx="49">
                  <c:v>0</c:v>
                </c:pt>
                <c:pt idx="50">
                  <c:v>5.1702939725746922E-7</c:v>
                </c:pt>
                <c:pt idx="51">
                  <c:v>0</c:v>
                </c:pt>
                <c:pt idx="52">
                  <c:v>5.1702939725746922E-7</c:v>
                </c:pt>
                <c:pt idx="53">
                  <c:v>2.5851469862873461E-7</c:v>
                </c:pt>
                <c:pt idx="54">
                  <c:v>0</c:v>
                </c:pt>
                <c:pt idx="55">
                  <c:v>7.7554409588620388E-7</c:v>
                </c:pt>
                <c:pt idx="56">
                  <c:v>5.1702939725746922E-7</c:v>
                </c:pt>
                <c:pt idx="57">
                  <c:v>0</c:v>
                </c:pt>
                <c:pt idx="58">
                  <c:v>1.0340587945149384E-6</c:v>
                </c:pt>
                <c:pt idx="59">
                  <c:v>2.5851469862873461E-7</c:v>
                </c:pt>
                <c:pt idx="60">
                  <c:v>2.5851469862873461E-7</c:v>
                </c:pt>
                <c:pt idx="61">
                  <c:v>0</c:v>
                </c:pt>
                <c:pt idx="62">
                  <c:v>0</c:v>
                </c:pt>
                <c:pt idx="63">
                  <c:v>2.5851469862873461E-7</c:v>
                </c:pt>
                <c:pt idx="64">
                  <c:v>2.5851469862873461E-7</c:v>
                </c:pt>
                <c:pt idx="65">
                  <c:v>7.7554409588620388E-7</c:v>
                </c:pt>
                <c:pt idx="66">
                  <c:v>0</c:v>
                </c:pt>
                <c:pt idx="67">
                  <c:v>1.5510881917724078E-6</c:v>
                </c:pt>
                <c:pt idx="68">
                  <c:v>2.5851469862873461E-7</c:v>
                </c:pt>
                <c:pt idx="69">
                  <c:v>5.1702939725746922E-7</c:v>
                </c:pt>
                <c:pt idx="70">
                  <c:v>0</c:v>
                </c:pt>
                <c:pt idx="71">
                  <c:v>2.5851469862873461E-7</c:v>
                </c:pt>
                <c:pt idx="72">
                  <c:v>5.1702939725746922E-7</c:v>
                </c:pt>
                <c:pt idx="73">
                  <c:v>0</c:v>
                </c:pt>
                <c:pt idx="74">
                  <c:v>0</c:v>
                </c:pt>
                <c:pt idx="75">
                  <c:v>2.5851469862873461E-7</c:v>
                </c:pt>
                <c:pt idx="76">
                  <c:v>7.7554409588620388E-7</c:v>
                </c:pt>
                <c:pt idx="77">
                  <c:v>5.1702939725746922E-7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2.5851469862873461E-7</c:v>
                </c:pt>
                <c:pt idx="83">
                  <c:v>2.5851469862873461E-7</c:v>
                </c:pt>
                <c:pt idx="84">
                  <c:v>0</c:v>
                </c:pt>
                <c:pt idx="85">
                  <c:v>2.5851469862873461E-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3C5-47A6-84D2-758AF37A3A27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rocenta 1 davka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87</c:f>
              <c:numCache>
                <c:formatCode>General</c:formatCode>
                <c:ptCount val="8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</c:numCache>
            </c:numRef>
          </c:cat>
          <c:val>
            <c:numRef>
              <c:f>List1!$C$2:$C$87</c:f>
              <c:numCache>
                <c:formatCode>0.0000000%</c:formatCode>
                <c:ptCount val="86"/>
                <c:pt idx="0">
                  <c:v>7.0323586953005563E-7</c:v>
                </c:pt>
                <c:pt idx="1">
                  <c:v>7.7355945648306118E-6</c:v>
                </c:pt>
                <c:pt idx="2">
                  <c:v>1.4767953260131168E-5</c:v>
                </c:pt>
                <c:pt idx="3">
                  <c:v>1.6174424999191277E-5</c:v>
                </c:pt>
                <c:pt idx="4">
                  <c:v>2.0393840216371612E-5</c:v>
                </c:pt>
                <c:pt idx="5">
                  <c:v>2.6722963042142112E-5</c:v>
                </c:pt>
                <c:pt idx="6">
                  <c:v>3.7271501085092943E-5</c:v>
                </c:pt>
                <c:pt idx="7">
                  <c:v>4.0084444563213171E-5</c:v>
                </c:pt>
                <c:pt idx="8">
                  <c:v>3.8677972824153057E-5</c:v>
                </c:pt>
                <c:pt idx="9">
                  <c:v>5.6258869562404445E-5</c:v>
                </c:pt>
                <c:pt idx="10">
                  <c:v>5.6962105431934506E-5</c:v>
                </c:pt>
                <c:pt idx="11">
                  <c:v>5.5555633692874392E-5</c:v>
                </c:pt>
                <c:pt idx="12">
                  <c:v>6.1884756518644894E-5</c:v>
                </c:pt>
                <c:pt idx="13">
                  <c:v>5.8368577170994613E-5</c:v>
                </c:pt>
                <c:pt idx="14">
                  <c:v>5.274269021475417E-5</c:v>
                </c:pt>
                <c:pt idx="15">
                  <c:v>5.1336218475694056E-5</c:v>
                </c:pt>
                <c:pt idx="16">
                  <c:v>5.8368577170994613E-5</c:v>
                </c:pt>
                <c:pt idx="17">
                  <c:v>2.6722963042142112E-5</c:v>
                </c:pt>
                <c:pt idx="18">
                  <c:v>3.8677972824153057E-5</c:v>
                </c:pt>
                <c:pt idx="19">
                  <c:v>3.1645614128852501E-5</c:v>
                </c:pt>
                <c:pt idx="20">
                  <c:v>3.8677972824153057E-5</c:v>
                </c:pt>
                <c:pt idx="21">
                  <c:v>3.4458557606972722E-5</c:v>
                </c:pt>
                <c:pt idx="22">
                  <c:v>2.4613255433551944E-5</c:v>
                </c:pt>
                <c:pt idx="23">
                  <c:v>2.6019727172612058E-5</c:v>
                </c:pt>
                <c:pt idx="24">
                  <c:v>2.0393840216371612E-5</c:v>
                </c:pt>
                <c:pt idx="25">
                  <c:v>1.7580896738251391E-5</c:v>
                </c:pt>
                <c:pt idx="26">
                  <c:v>1.6877660868721334E-5</c:v>
                </c:pt>
                <c:pt idx="27">
                  <c:v>1.0548538042950835E-5</c:v>
                </c:pt>
                <c:pt idx="28">
                  <c:v>1.2658245651541001E-5</c:v>
                </c:pt>
                <c:pt idx="29">
                  <c:v>1.5471189129661224E-5</c:v>
                </c:pt>
                <c:pt idx="30">
                  <c:v>1.0548538042950835E-5</c:v>
                </c:pt>
                <c:pt idx="31">
                  <c:v>1.1955009782010945E-5</c:v>
                </c:pt>
                <c:pt idx="32">
                  <c:v>9.1420663038907224E-6</c:v>
                </c:pt>
                <c:pt idx="33">
                  <c:v>7.0323586953005557E-6</c:v>
                </c:pt>
                <c:pt idx="34">
                  <c:v>5.625886956240445E-6</c:v>
                </c:pt>
                <c:pt idx="35">
                  <c:v>7.0323586953005557E-6</c:v>
                </c:pt>
                <c:pt idx="36">
                  <c:v>4.2194152171803336E-6</c:v>
                </c:pt>
                <c:pt idx="37">
                  <c:v>1.4064717390601113E-6</c:v>
                </c:pt>
                <c:pt idx="38">
                  <c:v>4.9226510867103889E-6</c:v>
                </c:pt>
                <c:pt idx="39">
                  <c:v>4.9226510867103889E-6</c:v>
                </c:pt>
                <c:pt idx="40">
                  <c:v>2.1097076085901668E-6</c:v>
                </c:pt>
                <c:pt idx="41">
                  <c:v>2.8129434781202225E-6</c:v>
                </c:pt>
                <c:pt idx="42">
                  <c:v>4.2194152171803336E-6</c:v>
                </c:pt>
                <c:pt idx="43">
                  <c:v>4.2194152171803336E-6</c:v>
                </c:pt>
                <c:pt idx="44">
                  <c:v>2.8129434781202225E-6</c:v>
                </c:pt>
                <c:pt idx="45">
                  <c:v>1.4064717390601113E-6</c:v>
                </c:pt>
                <c:pt idx="46">
                  <c:v>7.0323586953005563E-7</c:v>
                </c:pt>
                <c:pt idx="47">
                  <c:v>1.4064717390601113E-6</c:v>
                </c:pt>
                <c:pt idx="48">
                  <c:v>0</c:v>
                </c:pt>
                <c:pt idx="49">
                  <c:v>2.8129434781202225E-6</c:v>
                </c:pt>
                <c:pt idx="50">
                  <c:v>2.1097076085901668E-6</c:v>
                </c:pt>
                <c:pt idx="51">
                  <c:v>2.1097076085901668E-6</c:v>
                </c:pt>
                <c:pt idx="52">
                  <c:v>2.8129434781202225E-6</c:v>
                </c:pt>
                <c:pt idx="53">
                  <c:v>1.4064717390601113E-6</c:v>
                </c:pt>
                <c:pt idx="54">
                  <c:v>3.5161793476502778E-6</c:v>
                </c:pt>
                <c:pt idx="55">
                  <c:v>1.4064717390601113E-6</c:v>
                </c:pt>
                <c:pt idx="56">
                  <c:v>1.4064717390601113E-6</c:v>
                </c:pt>
                <c:pt idx="57">
                  <c:v>2.1097076085901668E-6</c:v>
                </c:pt>
                <c:pt idx="58">
                  <c:v>0</c:v>
                </c:pt>
                <c:pt idx="59">
                  <c:v>7.0323586953005563E-7</c:v>
                </c:pt>
                <c:pt idx="60">
                  <c:v>2.1097076085901668E-6</c:v>
                </c:pt>
                <c:pt idx="61">
                  <c:v>1.4064717390601113E-6</c:v>
                </c:pt>
                <c:pt idx="62">
                  <c:v>0</c:v>
                </c:pt>
                <c:pt idx="63">
                  <c:v>1.4064717390601113E-6</c:v>
                </c:pt>
                <c:pt idx="64">
                  <c:v>1.4064717390601113E-6</c:v>
                </c:pt>
                <c:pt idx="65">
                  <c:v>7.0323586953005563E-7</c:v>
                </c:pt>
                <c:pt idx="66">
                  <c:v>7.0323586953005563E-7</c:v>
                </c:pt>
                <c:pt idx="67">
                  <c:v>1.4064717390601113E-6</c:v>
                </c:pt>
                <c:pt idx="68">
                  <c:v>0</c:v>
                </c:pt>
                <c:pt idx="69">
                  <c:v>1.4064717390601113E-6</c:v>
                </c:pt>
                <c:pt idx="70">
                  <c:v>2.1097076085901668E-6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7.0323586953005563E-7</c:v>
                </c:pt>
                <c:pt idx="77">
                  <c:v>0</c:v>
                </c:pt>
                <c:pt idx="78">
                  <c:v>7.0323586953005563E-7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7.0323586953005563E-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3C5-47A6-84D2-758AF37A3A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26870383"/>
        <c:axId val="1680393071"/>
      </c:lineChart>
      <c:dateAx>
        <c:axId val="1526870383"/>
        <c:scaling>
          <c:orientation val="minMax"/>
          <c:max val="88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80393071"/>
        <c:crosses val="autoZero"/>
        <c:auto val="0"/>
        <c:lblOffset val="100"/>
        <c:baseTimeUnit val="days"/>
        <c:majorUnit val="7"/>
        <c:minorUnit val="7"/>
      </c:dateAx>
      <c:valAx>
        <c:axId val="1680393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0%" sourceLinked="0"/>
        <c:majorTickMark val="none"/>
        <c:minorTickMark val="none"/>
        <c:tickLblPos val="low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2687038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Bez nákaz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List1!$B$1:$C$1</c:f>
              <c:strCache>
                <c:ptCount val="2"/>
                <c:pt idx="0">
                  <c:v>První dávka</c:v>
                </c:pt>
                <c:pt idx="1">
                  <c:v>Druhá dávka</c:v>
                </c:pt>
              </c:strCache>
            </c:strRef>
          </c:cat>
          <c:val>
            <c:numRef>
              <c:f>List1!$B$2:$C$2</c:f>
              <c:numCache>
                <c:formatCode>#,##0</c:formatCode>
                <c:ptCount val="2"/>
                <c:pt idx="0">
                  <c:v>1421998</c:v>
                </c:pt>
                <c:pt idx="1">
                  <c:v>38682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F8-47A7-8ED3-33230B4AB067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Expozice před očkováním*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List1!$B$1:$C$1</c:f>
              <c:strCache>
                <c:ptCount val="2"/>
                <c:pt idx="0">
                  <c:v>První dávka</c:v>
                </c:pt>
                <c:pt idx="1">
                  <c:v>Druhá dávka</c:v>
                </c:pt>
              </c:strCache>
            </c:strRef>
          </c:cat>
          <c:val>
            <c:numRef>
              <c:f>List1!$B$3:$C$3</c:f>
              <c:numCache>
                <c:formatCode>#,##0</c:formatCode>
                <c:ptCount val="2"/>
                <c:pt idx="0">
                  <c:v>11825</c:v>
                </c:pt>
                <c:pt idx="1">
                  <c:v>17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3F8-47A7-8ED3-33230B4AB067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Lehký průbě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List1!$B$1:$C$1</c:f>
              <c:strCache>
                <c:ptCount val="2"/>
                <c:pt idx="0">
                  <c:v>První dávka</c:v>
                </c:pt>
                <c:pt idx="1">
                  <c:v>Druhá dávka</c:v>
                </c:pt>
              </c:strCache>
            </c:strRef>
          </c:cat>
          <c:val>
            <c:numRef>
              <c:f>List1!$B$4:$C$4</c:f>
              <c:numCache>
                <c:formatCode>#,##0</c:formatCode>
                <c:ptCount val="2"/>
                <c:pt idx="0">
                  <c:v>10106</c:v>
                </c:pt>
                <c:pt idx="1">
                  <c:v>20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3F8-47A7-8ED3-33230B4AB067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Těžký průběh**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List1!$B$1:$C$1</c:f>
              <c:strCache>
                <c:ptCount val="2"/>
                <c:pt idx="0">
                  <c:v>První dávka</c:v>
                </c:pt>
                <c:pt idx="1">
                  <c:v>Druhá dávka</c:v>
                </c:pt>
              </c:strCache>
            </c:strRef>
          </c:cat>
          <c:val>
            <c:numRef>
              <c:f>List1!$B$5:$C$5</c:f>
              <c:numCache>
                <c:formatCode>General</c:formatCode>
                <c:ptCount val="2"/>
                <c:pt idx="0">
                  <c:v>743</c:v>
                </c:pt>
                <c:pt idx="1">
                  <c:v>1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3F8-47A7-8ED3-33230B4AB0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466281184"/>
        <c:axId val="1466285760"/>
      </c:barChart>
      <c:catAx>
        <c:axId val="1466281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66285760"/>
        <c:crosses val="autoZero"/>
        <c:auto val="1"/>
        <c:lblAlgn val="ctr"/>
        <c:lblOffset val="100"/>
        <c:noMultiLvlLbl val="0"/>
      </c:catAx>
      <c:valAx>
        <c:axId val="1466285760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662811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Bez nákaz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List1!$B$1:$C$1</c:f>
              <c:strCache>
                <c:ptCount val="2"/>
                <c:pt idx="0">
                  <c:v>První dávka</c:v>
                </c:pt>
                <c:pt idx="1">
                  <c:v>Druhá dávka</c:v>
                </c:pt>
              </c:strCache>
            </c:strRef>
          </c:cat>
          <c:val>
            <c:numRef>
              <c:f>List1!$B$2:$C$2</c:f>
              <c:numCache>
                <c:formatCode>#,##0</c:formatCode>
                <c:ptCount val="2"/>
                <c:pt idx="0">
                  <c:v>1421998</c:v>
                </c:pt>
                <c:pt idx="1">
                  <c:v>38682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7A-4FE0-8E7F-32A4BDBD9B7F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EX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List1!$B$1:$C$1</c:f>
              <c:strCache>
                <c:ptCount val="2"/>
                <c:pt idx="0">
                  <c:v>První dávka</c:v>
                </c:pt>
                <c:pt idx="1">
                  <c:v>Druhá dávka</c:v>
                </c:pt>
              </c:strCache>
            </c:strRef>
          </c:cat>
          <c:val>
            <c:numRef>
              <c:f>List1!$B$3:$C$3</c:f>
              <c:numCache>
                <c:formatCode>#,##0</c:formatCode>
                <c:ptCount val="2"/>
                <c:pt idx="0">
                  <c:v>11825</c:v>
                </c:pt>
                <c:pt idx="1">
                  <c:v>17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7A-4FE0-8E7F-32A4BDBD9B7F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Lehký průbě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List1!$B$1:$C$1</c:f>
              <c:strCache>
                <c:ptCount val="2"/>
                <c:pt idx="0">
                  <c:v>První dávka</c:v>
                </c:pt>
                <c:pt idx="1">
                  <c:v>Druhá dávka</c:v>
                </c:pt>
              </c:strCache>
            </c:strRef>
          </c:cat>
          <c:val>
            <c:numRef>
              <c:f>List1!$B$4:$C$4</c:f>
              <c:numCache>
                <c:formatCode>#,##0</c:formatCode>
                <c:ptCount val="2"/>
                <c:pt idx="0">
                  <c:v>10106</c:v>
                </c:pt>
                <c:pt idx="1">
                  <c:v>20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37A-4FE0-8E7F-32A4BDBD9B7F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Těžký průběh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List1!$B$1:$C$1</c:f>
              <c:strCache>
                <c:ptCount val="2"/>
                <c:pt idx="0">
                  <c:v>První dávka</c:v>
                </c:pt>
                <c:pt idx="1">
                  <c:v>Druhá dávka</c:v>
                </c:pt>
              </c:strCache>
            </c:strRef>
          </c:cat>
          <c:val>
            <c:numRef>
              <c:f>List1!$B$5:$C$5</c:f>
              <c:numCache>
                <c:formatCode>General</c:formatCode>
                <c:ptCount val="2"/>
                <c:pt idx="0">
                  <c:v>743</c:v>
                </c:pt>
                <c:pt idx="1">
                  <c:v>1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37A-4FE0-8E7F-32A4BDBD9B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466281184"/>
        <c:axId val="1466285760"/>
      </c:barChart>
      <c:catAx>
        <c:axId val="1466281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66285760"/>
        <c:crosses val="autoZero"/>
        <c:auto val="1"/>
        <c:lblAlgn val="ctr"/>
        <c:lblOffset val="100"/>
        <c:noMultiLvlLbl val="0"/>
      </c:catAx>
      <c:valAx>
        <c:axId val="14662857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66281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5098508700484945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70–79</c:v>
                </c:pt>
              </c:strCache>
            </c:strRef>
          </c:tx>
          <c:spPr>
            <a:ln w="28575" cap="rnd">
              <a:solidFill>
                <a:srgbClr val="FF6600"/>
              </a:solidFill>
              <a:round/>
            </a:ln>
            <a:effectLst/>
          </c:spPr>
          <c:marker>
            <c:symbol val="none"/>
          </c:marker>
          <c:cat>
            <c:strRef>
              <c:f>List1!$B$1:$GP$1</c:f>
              <c:strCache>
                <c:ptCount val="197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  <c:pt idx="176">
                  <c:v>21-VI.</c:v>
                </c:pt>
                <c:pt idx="177">
                  <c:v>22-VI.</c:v>
                </c:pt>
                <c:pt idx="178">
                  <c:v>23-VI.</c:v>
                </c:pt>
                <c:pt idx="179">
                  <c:v>24-VI.</c:v>
                </c:pt>
                <c:pt idx="180">
                  <c:v>25-VI.</c:v>
                </c:pt>
                <c:pt idx="181">
                  <c:v>26-VI.</c:v>
                </c:pt>
                <c:pt idx="182">
                  <c:v>27-VI.</c:v>
                </c:pt>
                <c:pt idx="183">
                  <c:v>28-VI.</c:v>
                </c:pt>
                <c:pt idx="184">
                  <c:v>29-VI.</c:v>
                </c:pt>
                <c:pt idx="185">
                  <c:v>30-VI.</c:v>
                </c:pt>
                <c:pt idx="186">
                  <c:v>1-VII.</c:v>
                </c:pt>
                <c:pt idx="187">
                  <c:v>2-VII.</c:v>
                </c:pt>
                <c:pt idx="188">
                  <c:v>3-VII.</c:v>
                </c:pt>
                <c:pt idx="189">
                  <c:v>4-VII.</c:v>
                </c:pt>
                <c:pt idx="190">
                  <c:v>5-VII.</c:v>
                </c:pt>
                <c:pt idx="191">
                  <c:v>6-VII.</c:v>
                </c:pt>
                <c:pt idx="192">
                  <c:v>7-VII.</c:v>
                </c:pt>
                <c:pt idx="193">
                  <c:v>8-VII.</c:v>
                </c:pt>
                <c:pt idx="194">
                  <c:v>9-VII.</c:v>
                </c:pt>
                <c:pt idx="195">
                  <c:v>10-VII.</c:v>
                </c:pt>
                <c:pt idx="196">
                  <c:v>11-VII.</c:v>
                </c:pt>
              </c:strCache>
            </c:strRef>
          </c:cat>
          <c:val>
            <c:numRef>
              <c:f>List1!$B$2:$GP$2</c:f>
              <c:numCache>
                <c:formatCode>General</c:formatCode>
                <c:ptCount val="197"/>
                <c:pt idx="0">
                  <c:v>67</c:v>
                </c:pt>
                <c:pt idx="1">
                  <c:v>173</c:v>
                </c:pt>
                <c:pt idx="2">
                  <c:v>329</c:v>
                </c:pt>
                <c:pt idx="3">
                  <c:v>486</c:v>
                </c:pt>
                <c:pt idx="4">
                  <c:v>597</c:v>
                </c:pt>
                <c:pt idx="5">
                  <c:v>605</c:v>
                </c:pt>
                <c:pt idx="6">
                  <c:v>645</c:v>
                </c:pt>
                <c:pt idx="7">
                  <c:v>674</c:v>
                </c:pt>
                <c:pt idx="8">
                  <c:v>805</c:v>
                </c:pt>
                <c:pt idx="9">
                  <c:v>954</c:v>
                </c:pt>
                <c:pt idx="10">
                  <c:v>1191</c:v>
                </c:pt>
                <c:pt idx="11">
                  <c:v>1644</c:v>
                </c:pt>
                <c:pt idx="12">
                  <c:v>2151</c:v>
                </c:pt>
                <c:pt idx="13">
                  <c:v>2330</c:v>
                </c:pt>
                <c:pt idx="14">
                  <c:v>2481</c:v>
                </c:pt>
                <c:pt idx="15">
                  <c:v>2939</c:v>
                </c:pt>
                <c:pt idx="16">
                  <c:v>3839</c:v>
                </c:pt>
                <c:pt idx="17">
                  <c:v>5041</c:v>
                </c:pt>
                <c:pt idx="18">
                  <c:v>6461</c:v>
                </c:pt>
                <c:pt idx="19">
                  <c:v>7696</c:v>
                </c:pt>
                <c:pt idx="20">
                  <c:v>8049</c:v>
                </c:pt>
                <c:pt idx="21">
                  <c:v>8275</c:v>
                </c:pt>
                <c:pt idx="22">
                  <c:v>9272</c:v>
                </c:pt>
                <c:pt idx="23">
                  <c:v>10258</c:v>
                </c:pt>
                <c:pt idx="24">
                  <c:v>11379</c:v>
                </c:pt>
                <c:pt idx="25">
                  <c:v>12529</c:v>
                </c:pt>
                <c:pt idx="26">
                  <c:v>13393</c:v>
                </c:pt>
                <c:pt idx="27">
                  <c:v>13604</c:v>
                </c:pt>
                <c:pt idx="28">
                  <c:v>13736</c:v>
                </c:pt>
                <c:pt idx="29">
                  <c:v>14267</c:v>
                </c:pt>
                <c:pt idx="30">
                  <c:v>14905</c:v>
                </c:pt>
                <c:pt idx="31">
                  <c:v>15487</c:v>
                </c:pt>
                <c:pt idx="32">
                  <c:v>16093</c:v>
                </c:pt>
                <c:pt idx="33">
                  <c:v>16737</c:v>
                </c:pt>
                <c:pt idx="34">
                  <c:v>16870</c:v>
                </c:pt>
                <c:pt idx="35">
                  <c:v>17017</c:v>
                </c:pt>
                <c:pt idx="36">
                  <c:v>17638</c:v>
                </c:pt>
                <c:pt idx="37">
                  <c:v>18492</c:v>
                </c:pt>
                <c:pt idx="38">
                  <c:v>19632</c:v>
                </c:pt>
                <c:pt idx="39">
                  <c:v>20964</c:v>
                </c:pt>
                <c:pt idx="40">
                  <c:v>22108</c:v>
                </c:pt>
                <c:pt idx="41">
                  <c:v>22266</c:v>
                </c:pt>
                <c:pt idx="42">
                  <c:v>22433</c:v>
                </c:pt>
                <c:pt idx="43">
                  <c:v>23380</c:v>
                </c:pt>
                <c:pt idx="44">
                  <c:v>24511</c:v>
                </c:pt>
                <c:pt idx="45">
                  <c:v>25825</c:v>
                </c:pt>
                <c:pt idx="46">
                  <c:v>27542</c:v>
                </c:pt>
                <c:pt idx="47">
                  <c:v>29008</c:v>
                </c:pt>
                <c:pt idx="48">
                  <c:v>29351</c:v>
                </c:pt>
                <c:pt idx="49">
                  <c:v>29437</c:v>
                </c:pt>
                <c:pt idx="50">
                  <c:v>30386</c:v>
                </c:pt>
                <c:pt idx="51">
                  <c:v>31600</c:v>
                </c:pt>
                <c:pt idx="52">
                  <c:v>32885</c:v>
                </c:pt>
                <c:pt idx="53">
                  <c:v>34238</c:v>
                </c:pt>
                <c:pt idx="54">
                  <c:v>35513</c:v>
                </c:pt>
                <c:pt idx="55">
                  <c:v>35650</c:v>
                </c:pt>
                <c:pt idx="56">
                  <c:v>35716</c:v>
                </c:pt>
                <c:pt idx="57">
                  <c:v>36582</c:v>
                </c:pt>
                <c:pt idx="58">
                  <c:v>37622</c:v>
                </c:pt>
                <c:pt idx="59">
                  <c:v>39016</c:v>
                </c:pt>
                <c:pt idx="60">
                  <c:v>40678</c:v>
                </c:pt>
                <c:pt idx="61">
                  <c:v>42634</c:v>
                </c:pt>
                <c:pt idx="62">
                  <c:v>42954</c:v>
                </c:pt>
                <c:pt idx="63">
                  <c:v>43095</c:v>
                </c:pt>
                <c:pt idx="64">
                  <c:v>45758</c:v>
                </c:pt>
                <c:pt idx="65">
                  <c:v>51104</c:v>
                </c:pt>
                <c:pt idx="66">
                  <c:v>60277</c:v>
                </c:pt>
                <c:pt idx="67">
                  <c:v>72582</c:v>
                </c:pt>
                <c:pt idx="68">
                  <c:v>84528</c:v>
                </c:pt>
                <c:pt idx="69">
                  <c:v>89500</c:v>
                </c:pt>
                <c:pt idx="70">
                  <c:v>94138</c:v>
                </c:pt>
                <c:pt idx="71">
                  <c:v>108151</c:v>
                </c:pt>
                <c:pt idx="72">
                  <c:v>125616</c:v>
                </c:pt>
                <c:pt idx="73">
                  <c:v>148304</c:v>
                </c:pt>
                <c:pt idx="74">
                  <c:v>173270</c:v>
                </c:pt>
                <c:pt idx="75">
                  <c:v>195697</c:v>
                </c:pt>
                <c:pt idx="76">
                  <c:v>206168</c:v>
                </c:pt>
                <c:pt idx="77">
                  <c:v>213817</c:v>
                </c:pt>
                <c:pt idx="78">
                  <c:v>231703</c:v>
                </c:pt>
                <c:pt idx="79">
                  <c:v>254581</c:v>
                </c:pt>
                <c:pt idx="80">
                  <c:v>277906</c:v>
                </c:pt>
                <c:pt idx="81">
                  <c:v>301685</c:v>
                </c:pt>
                <c:pt idx="82">
                  <c:v>321534</c:v>
                </c:pt>
                <c:pt idx="83">
                  <c:v>330821</c:v>
                </c:pt>
                <c:pt idx="84">
                  <c:v>335680</c:v>
                </c:pt>
                <c:pt idx="85">
                  <c:v>351475</c:v>
                </c:pt>
                <c:pt idx="86">
                  <c:v>369092</c:v>
                </c:pt>
                <c:pt idx="87">
                  <c:v>387935</c:v>
                </c:pt>
                <c:pt idx="88">
                  <c:v>406486</c:v>
                </c:pt>
                <c:pt idx="89">
                  <c:v>422869</c:v>
                </c:pt>
                <c:pt idx="90">
                  <c:v>429946</c:v>
                </c:pt>
                <c:pt idx="91">
                  <c:v>434167</c:v>
                </c:pt>
                <c:pt idx="92">
                  <c:v>451195</c:v>
                </c:pt>
                <c:pt idx="93">
                  <c:v>472272</c:v>
                </c:pt>
                <c:pt idx="94">
                  <c:v>495864</c:v>
                </c:pt>
                <c:pt idx="95">
                  <c:v>523813</c:v>
                </c:pt>
                <c:pt idx="96">
                  <c:v>534211</c:v>
                </c:pt>
                <c:pt idx="97">
                  <c:v>541653</c:v>
                </c:pt>
                <c:pt idx="98">
                  <c:v>547483</c:v>
                </c:pt>
                <c:pt idx="99">
                  <c:v>552677</c:v>
                </c:pt>
                <c:pt idx="100">
                  <c:v>575729</c:v>
                </c:pt>
                <c:pt idx="101">
                  <c:v>599286</c:v>
                </c:pt>
                <c:pt idx="102">
                  <c:v>638357</c:v>
                </c:pt>
                <c:pt idx="103">
                  <c:v>674100</c:v>
                </c:pt>
                <c:pt idx="104">
                  <c:v>691397</c:v>
                </c:pt>
                <c:pt idx="105">
                  <c:v>703443</c:v>
                </c:pt>
                <c:pt idx="106">
                  <c:v>739329</c:v>
                </c:pt>
                <c:pt idx="107">
                  <c:v>772631</c:v>
                </c:pt>
                <c:pt idx="108">
                  <c:v>809105</c:v>
                </c:pt>
                <c:pt idx="109">
                  <c:v>845027</c:v>
                </c:pt>
                <c:pt idx="110">
                  <c:v>873301</c:v>
                </c:pt>
                <c:pt idx="111">
                  <c:v>883062</c:v>
                </c:pt>
                <c:pt idx="112">
                  <c:v>890815</c:v>
                </c:pt>
                <c:pt idx="113">
                  <c:v>911618</c:v>
                </c:pt>
                <c:pt idx="114">
                  <c:v>931637</c:v>
                </c:pt>
                <c:pt idx="115">
                  <c:v>949092</c:v>
                </c:pt>
                <c:pt idx="116">
                  <c:v>968946</c:v>
                </c:pt>
                <c:pt idx="117">
                  <c:v>983217</c:v>
                </c:pt>
                <c:pt idx="118">
                  <c:v>989309</c:v>
                </c:pt>
                <c:pt idx="119">
                  <c:v>993294</c:v>
                </c:pt>
                <c:pt idx="120">
                  <c:v>1004295</c:v>
                </c:pt>
                <c:pt idx="121">
                  <c:v>1017277</c:v>
                </c:pt>
                <c:pt idx="122">
                  <c:v>1031167</c:v>
                </c:pt>
                <c:pt idx="123">
                  <c:v>1045850</c:v>
                </c:pt>
                <c:pt idx="124">
                  <c:v>1055741</c:v>
                </c:pt>
                <c:pt idx="125">
                  <c:v>1059305</c:v>
                </c:pt>
                <c:pt idx="126">
                  <c:v>1061886</c:v>
                </c:pt>
                <c:pt idx="127">
                  <c:v>1069548</c:v>
                </c:pt>
                <c:pt idx="128">
                  <c:v>1079283</c:v>
                </c:pt>
                <c:pt idx="129">
                  <c:v>1089718</c:v>
                </c:pt>
                <c:pt idx="130">
                  <c:v>1100758</c:v>
                </c:pt>
                <c:pt idx="131">
                  <c:v>1109157</c:v>
                </c:pt>
                <c:pt idx="132">
                  <c:v>1111634</c:v>
                </c:pt>
                <c:pt idx="133">
                  <c:v>1113395</c:v>
                </c:pt>
                <c:pt idx="134">
                  <c:v>1120408</c:v>
                </c:pt>
                <c:pt idx="135">
                  <c:v>1128893</c:v>
                </c:pt>
                <c:pt idx="136">
                  <c:v>1136947</c:v>
                </c:pt>
                <c:pt idx="137">
                  <c:v>1144946</c:v>
                </c:pt>
                <c:pt idx="138">
                  <c:v>1150254</c:v>
                </c:pt>
                <c:pt idx="139">
                  <c:v>1152120</c:v>
                </c:pt>
                <c:pt idx="140">
                  <c:v>1153518</c:v>
                </c:pt>
                <c:pt idx="141">
                  <c:v>1158455</c:v>
                </c:pt>
                <c:pt idx="142">
                  <c:v>1167244</c:v>
                </c:pt>
                <c:pt idx="143">
                  <c:v>1176173</c:v>
                </c:pt>
                <c:pt idx="144">
                  <c:v>1192020</c:v>
                </c:pt>
                <c:pt idx="145">
                  <c:v>1206153</c:v>
                </c:pt>
                <c:pt idx="146">
                  <c:v>1212281</c:v>
                </c:pt>
                <c:pt idx="147">
                  <c:v>1217702</c:v>
                </c:pt>
                <c:pt idx="148">
                  <c:v>1234899</c:v>
                </c:pt>
                <c:pt idx="149">
                  <c:v>1251564</c:v>
                </c:pt>
                <c:pt idx="150">
                  <c:v>1270820</c:v>
                </c:pt>
                <c:pt idx="151">
                  <c:v>1291456</c:v>
                </c:pt>
                <c:pt idx="152">
                  <c:v>1309172</c:v>
                </c:pt>
                <c:pt idx="153">
                  <c:v>1315005</c:v>
                </c:pt>
                <c:pt idx="154">
                  <c:v>1320669</c:v>
                </c:pt>
                <c:pt idx="155">
                  <c:v>1335849</c:v>
                </c:pt>
                <c:pt idx="156">
                  <c:v>1351607</c:v>
                </c:pt>
                <c:pt idx="157">
                  <c:v>1367268</c:v>
                </c:pt>
                <c:pt idx="158">
                  <c:v>1384092</c:v>
                </c:pt>
                <c:pt idx="159">
                  <c:v>1398257</c:v>
                </c:pt>
                <c:pt idx="160">
                  <c:v>1402769</c:v>
                </c:pt>
                <c:pt idx="161">
                  <c:v>1405636</c:v>
                </c:pt>
                <c:pt idx="162">
                  <c:v>1417896</c:v>
                </c:pt>
                <c:pt idx="163">
                  <c:v>1430970</c:v>
                </c:pt>
                <c:pt idx="164">
                  <c:v>1444249</c:v>
                </c:pt>
                <c:pt idx="165">
                  <c:v>1457995</c:v>
                </c:pt>
                <c:pt idx="166">
                  <c:v>1469139</c:v>
                </c:pt>
                <c:pt idx="167">
                  <c:v>1472213</c:v>
                </c:pt>
                <c:pt idx="168">
                  <c:v>1473932</c:v>
                </c:pt>
                <c:pt idx="169">
                  <c:v>1484363</c:v>
                </c:pt>
                <c:pt idx="170">
                  <c:v>1495811</c:v>
                </c:pt>
                <c:pt idx="171">
                  <c:v>1506944</c:v>
                </c:pt>
                <c:pt idx="172">
                  <c:v>1517712</c:v>
                </c:pt>
                <c:pt idx="173">
                  <c:v>1525681</c:v>
                </c:pt>
                <c:pt idx="174">
                  <c:v>1528021</c:v>
                </c:pt>
                <c:pt idx="175">
                  <c:v>1529655</c:v>
                </c:pt>
                <c:pt idx="176">
                  <c:v>1537650</c:v>
                </c:pt>
                <c:pt idx="177">
                  <c:v>1547193</c:v>
                </c:pt>
                <c:pt idx="178">
                  <c:v>1556481</c:v>
                </c:pt>
                <c:pt idx="179">
                  <c:v>1565619</c:v>
                </c:pt>
                <c:pt idx="180">
                  <c:v>1572281</c:v>
                </c:pt>
                <c:pt idx="181">
                  <c:v>1574317</c:v>
                </c:pt>
                <c:pt idx="182">
                  <c:v>1575659</c:v>
                </c:pt>
                <c:pt idx="183">
                  <c:v>1582813</c:v>
                </c:pt>
                <c:pt idx="184">
                  <c:v>1591491</c:v>
                </c:pt>
                <c:pt idx="185">
                  <c:v>1599800</c:v>
                </c:pt>
                <c:pt idx="186">
                  <c:v>1608649</c:v>
                </c:pt>
                <c:pt idx="187">
                  <c:v>1615141</c:v>
                </c:pt>
                <c:pt idx="188">
                  <c:v>1616594</c:v>
                </c:pt>
                <c:pt idx="189">
                  <c:v>1617436</c:v>
                </c:pt>
                <c:pt idx="190">
                  <c:v>1618324</c:v>
                </c:pt>
                <c:pt idx="191">
                  <c:v>1619310</c:v>
                </c:pt>
                <c:pt idx="192">
                  <c:v>1626037</c:v>
                </c:pt>
                <c:pt idx="193">
                  <c:v>1632645</c:v>
                </c:pt>
                <c:pt idx="194">
                  <c:v>1637470</c:v>
                </c:pt>
                <c:pt idx="195">
                  <c:v>1638450</c:v>
                </c:pt>
                <c:pt idx="196">
                  <c:v>16392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65–69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GP$1</c:f>
              <c:strCache>
                <c:ptCount val="197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  <c:pt idx="176">
                  <c:v>21-VI.</c:v>
                </c:pt>
                <c:pt idx="177">
                  <c:v>22-VI.</c:v>
                </c:pt>
                <c:pt idx="178">
                  <c:v>23-VI.</c:v>
                </c:pt>
                <c:pt idx="179">
                  <c:v>24-VI.</c:v>
                </c:pt>
                <c:pt idx="180">
                  <c:v>25-VI.</c:v>
                </c:pt>
                <c:pt idx="181">
                  <c:v>26-VI.</c:v>
                </c:pt>
                <c:pt idx="182">
                  <c:v>27-VI.</c:v>
                </c:pt>
                <c:pt idx="183">
                  <c:v>28-VI.</c:v>
                </c:pt>
                <c:pt idx="184">
                  <c:v>29-VI.</c:v>
                </c:pt>
                <c:pt idx="185">
                  <c:v>30-VI.</c:v>
                </c:pt>
                <c:pt idx="186">
                  <c:v>1-VII.</c:v>
                </c:pt>
                <c:pt idx="187">
                  <c:v>2-VII.</c:v>
                </c:pt>
                <c:pt idx="188">
                  <c:v>3-VII.</c:v>
                </c:pt>
                <c:pt idx="189">
                  <c:v>4-VII.</c:v>
                </c:pt>
                <c:pt idx="190">
                  <c:v>5-VII.</c:v>
                </c:pt>
                <c:pt idx="191">
                  <c:v>6-VII.</c:v>
                </c:pt>
                <c:pt idx="192">
                  <c:v>7-VII.</c:v>
                </c:pt>
                <c:pt idx="193">
                  <c:v>8-VII.</c:v>
                </c:pt>
                <c:pt idx="194">
                  <c:v>9-VII.</c:v>
                </c:pt>
                <c:pt idx="195">
                  <c:v>10-VII.</c:v>
                </c:pt>
                <c:pt idx="196">
                  <c:v>11-VII.</c:v>
                </c:pt>
              </c:strCache>
            </c:strRef>
          </c:cat>
          <c:val>
            <c:numRef>
              <c:f>List1!$B$3:$GP$3</c:f>
              <c:numCache>
                <c:formatCode>General</c:formatCode>
                <c:ptCount val="197"/>
                <c:pt idx="0">
                  <c:v>82</c:v>
                </c:pt>
                <c:pt idx="1">
                  <c:v>216</c:v>
                </c:pt>
                <c:pt idx="2">
                  <c:v>393</c:v>
                </c:pt>
                <c:pt idx="3">
                  <c:v>557</c:v>
                </c:pt>
                <c:pt idx="4">
                  <c:v>618</c:v>
                </c:pt>
                <c:pt idx="5">
                  <c:v>630</c:v>
                </c:pt>
                <c:pt idx="6">
                  <c:v>680</c:v>
                </c:pt>
                <c:pt idx="7">
                  <c:v>722</c:v>
                </c:pt>
                <c:pt idx="8">
                  <c:v>916</c:v>
                </c:pt>
                <c:pt idx="9">
                  <c:v>1141</c:v>
                </c:pt>
                <c:pt idx="10">
                  <c:v>1426</c:v>
                </c:pt>
                <c:pt idx="11">
                  <c:v>1799</c:v>
                </c:pt>
                <c:pt idx="12">
                  <c:v>2249</c:v>
                </c:pt>
                <c:pt idx="13">
                  <c:v>2396</c:v>
                </c:pt>
                <c:pt idx="14">
                  <c:v>2527</c:v>
                </c:pt>
                <c:pt idx="15">
                  <c:v>2990</c:v>
                </c:pt>
                <c:pt idx="16">
                  <c:v>3698</c:v>
                </c:pt>
                <c:pt idx="17">
                  <c:v>4454</c:v>
                </c:pt>
                <c:pt idx="18">
                  <c:v>5332</c:v>
                </c:pt>
                <c:pt idx="19">
                  <c:v>6147</c:v>
                </c:pt>
                <c:pt idx="20">
                  <c:v>6313</c:v>
                </c:pt>
                <c:pt idx="21">
                  <c:v>6425</c:v>
                </c:pt>
                <c:pt idx="22">
                  <c:v>7141</c:v>
                </c:pt>
                <c:pt idx="23">
                  <c:v>7874</c:v>
                </c:pt>
                <c:pt idx="24">
                  <c:v>8571</c:v>
                </c:pt>
                <c:pt idx="25">
                  <c:v>9223</c:v>
                </c:pt>
                <c:pt idx="26">
                  <c:v>9699</c:v>
                </c:pt>
                <c:pt idx="27">
                  <c:v>9800</c:v>
                </c:pt>
                <c:pt idx="28">
                  <c:v>9888</c:v>
                </c:pt>
                <c:pt idx="29">
                  <c:v>10316</c:v>
                </c:pt>
                <c:pt idx="30">
                  <c:v>10890</c:v>
                </c:pt>
                <c:pt idx="31">
                  <c:v>11329</c:v>
                </c:pt>
                <c:pt idx="32">
                  <c:v>11792</c:v>
                </c:pt>
                <c:pt idx="33">
                  <c:v>12326</c:v>
                </c:pt>
                <c:pt idx="34">
                  <c:v>12444</c:v>
                </c:pt>
                <c:pt idx="35">
                  <c:v>12554</c:v>
                </c:pt>
                <c:pt idx="36">
                  <c:v>13080</c:v>
                </c:pt>
                <c:pt idx="37">
                  <c:v>13759</c:v>
                </c:pt>
                <c:pt idx="38">
                  <c:v>14520</c:v>
                </c:pt>
                <c:pt idx="39">
                  <c:v>15400</c:v>
                </c:pt>
                <c:pt idx="40">
                  <c:v>16181</c:v>
                </c:pt>
                <c:pt idx="41">
                  <c:v>16298</c:v>
                </c:pt>
                <c:pt idx="42">
                  <c:v>16387</c:v>
                </c:pt>
                <c:pt idx="43">
                  <c:v>17025</c:v>
                </c:pt>
                <c:pt idx="44">
                  <c:v>17736</c:v>
                </c:pt>
                <c:pt idx="45">
                  <c:v>18455</c:v>
                </c:pt>
                <c:pt idx="46">
                  <c:v>19352</c:v>
                </c:pt>
                <c:pt idx="47">
                  <c:v>20142</c:v>
                </c:pt>
                <c:pt idx="48">
                  <c:v>20276</c:v>
                </c:pt>
                <c:pt idx="49">
                  <c:v>20340</c:v>
                </c:pt>
                <c:pt idx="50">
                  <c:v>20849</c:v>
                </c:pt>
                <c:pt idx="51">
                  <c:v>21441</c:v>
                </c:pt>
                <c:pt idx="52">
                  <c:v>22039</c:v>
                </c:pt>
                <c:pt idx="53">
                  <c:v>22821</c:v>
                </c:pt>
                <c:pt idx="54">
                  <c:v>23436</c:v>
                </c:pt>
                <c:pt idx="55">
                  <c:v>23517</c:v>
                </c:pt>
                <c:pt idx="56">
                  <c:v>23556</c:v>
                </c:pt>
                <c:pt idx="57">
                  <c:v>24016</c:v>
                </c:pt>
                <c:pt idx="58">
                  <c:v>24653</c:v>
                </c:pt>
                <c:pt idx="59">
                  <c:v>25362</c:v>
                </c:pt>
                <c:pt idx="60">
                  <c:v>26147</c:v>
                </c:pt>
                <c:pt idx="61">
                  <c:v>26960</c:v>
                </c:pt>
                <c:pt idx="62">
                  <c:v>27038</c:v>
                </c:pt>
                <c:pt idx="63">
                  <c:v>27109</c:v>
                </c:pt>
                <c:pt idx="64">
                  <c:v>28151</c:v>
                </c:pt>
                <c:pt idx="65">
                  <c:v>29697</c:v>
                </c:pt>
                <c:pt idx="66">
                  <c:v>31344</c:v>
                </c:pt>
                <c:pt idx="67">
                  <c:v>33099</c:v>
                </c:pt>
                <c:pt idx="68">
                  <c:v>34512</c:v>
                </c:pt>
                <c:pt idx="69">
                  <c:v>35093</c:v>
                </c:pt>
                <c:pt idx="70">
                  <c:v>35742</c:v>
                </c:pt>
                <c:pt idx="71">
                  <c:v>36915</c:v>
                </c:pt>
                <c:pt idx="72">
                  <c:v>38320</c:v>
                </c:pt>
                <c:pt idx="73">
                  <c:v>39822</c:v>
                </c:pt>
                <c:pt idx="74">
                  <c:v>41650</c:v>
                </c:pt>
                <c:pt idx="75">
                  <c:v>43512</c:v>
                </c:pt>
                <c:pt idx="76">
                  <c:v>43976</c:v>
                </c:pt>
                <c:pt idx="77">
                  <c:v>44299</c:v>
                </c:pt>
                <c:pt idx="78">
                  <c:v>45628</c:v>
                </c:pt>
                <c:pt idx="79">
                  <c:v>47388</c:v>
                </c:pt>
                <c:pt idx="80">
                  <c:v>49130</c:v>
                </c:pt>
                <c:pt idx="81">
                  <c:v>50960</c:v>
                </c:pt>
                <c:pt idx="82">
                  <c:v>53013</c:v>
                </c:pt>
                <c:pt idx="83">
                  <c:v>53474</c:v>
                </c:pt>
                <c:pt idx="84">
                  <c:v>53657</c:v>
                </c:pt>
                <c:pt idx="85">
                  <c:v>55372</c:v>
                </c:pt>
                <c:pt idx="86">
                  <c:v>57318</c:v>
                </c:pt>
                <c:pt idx="87">
                  <c:v>59686</c:v>
                </c:pt>
                <c:pt idx="88">
                  <c:v>62007</c:v>
                </c:pt>
                <c:pt idx="89">
                  <c:v>64440</c:v>
                </c:pt>
                <c:pt idx="90">
                  <c:v>65011</c:v>
                </c:pt>
                <c:pt idx="91">
                  <c:v>65657</c:v>
                </c:pt>
                <c:pt idx="92">
                  <c:v>68299</c:v>
                </c:pt>
                <c:pt idx="93">
                  <c:v>71201</c:v>
                </c:pt>
                <c:pt idx="94">
                  <c:v>74180</c:v>
                </c:pt>
                <c:pt idx="95">
                  <c:v>77606</c:v>
                </c:pt>
                <c:pt idx="96">
                  <c:v>78621</c:v>
                </c:pt>
                <c:pt idx="97">
                  <c:v>79262</c:v>
                </c:pt>
                <c:pt idx="98">
                  <c:v>79679</c:v>
                </c:pt>
                <c:pt idx="99">
                  <c:v>80047</c:v>
                </c:pt>
                <c:pt idx="100">
                  <c:v>82403</c:v>
                </c:pt>
                <c:pt idx="101">
                  <c:v>85281</c:v>
                </c:pt>
                <c:pt idx="102">
                  <c:v>89801</c:v>
                </c:pt>
                <c:pt idx="103">
                  <c:v>94634</c:v>
                </c:pt>
                <c:pt idx="104">
                  <c:v>96492</c:v>
                </c:pt>
                <c:pt idx="105">
                  <c:v>97531</c:v>
                </c:pt>
                <c:pt idx="106">
                  <c:v>102886</c:v>
                </c:pt>
                <c:pt idx="107">
                  <c:v>108235</c:v>
                </c:pt>
                <c:pt idx="108">
                  <c:v>115055</c:v>
                </c:pt>
                <c:pt idx="109">
                  <c:v>125630</c:v>
                </c:pt>
                <c:pt idx="110">
                  <c:v>135266</c:v>
                </c:pt>
                <c:pt idx="111">
                  <c:v>139741</c:v>
                </c:pt>
                <c:pt idx="112">
                  <c:v>142490</c:v>
                </c:pt>
                <c:pt idx="113">
                  <c:v>158027</c:v>
                </c:pt>
                <c:pt idx="114">
                  <c:v>174064</c:v>
                </c:pt>
                <c:pt idx="115">
                  <c:v>195945</c:v>
                </c:pt>
                <c:pt idx="116">
                  <c:v>221695</c:v>
                </c:pt>
                <c:pt idx="117">
                  <c:v>241787</c:v>
                </c:pt>
                <c:pt idx="118">
                  <c:v>249949</c:v>
                </c:pt>
                <c:pt idx="119">
                  <c:v>256355</c:v>
                </c:pt>
                <c:pt idx="120">
                  <c:v>279857</c:v>
                </c:pt>
                <c:pt idx="121">
                  <c:v>300519</c:v>
                </c:pt>
                <c:pt idx="122">
                  <c:v>324245</c:v>
                </c:pt>
                <c:pt idx="123">
                  <c:v>345395</c:v>
                </c:pt>
                <c:pt idx="124">
                  <c:v>361244</c:v>
                </c:pt>
                <c:pt idx="125">
                  <c:v>365046</c:v>
                </c:pt>
                <c:pt idx="126">
                  <c:v>369799</c:v>
                </c:pt>
                <c:pt idx="127">
                  <c:v>382919</c:v>
                </c:pt>
                <c:pt idx="128">
                  <c:v>395628</c:v>
                </c:pt>
                <c:pt idx="129">
                  <c:v>408383</c:v>
                </c:pt>
                <c:pt idx="130">
                  <c:v>421161</c:v>
                </c:pt>
                <c:pt idx="131">
                  <c:v>431138</c:v>
                </c:pt>
                <c:pt idx="132">
                  <c:v>434642</c:v>
                </c:pt>
                <c:pt idx="133">
                  <c:v>437280</c:v>
                </c:pt>
                <c:pt idx="134">
                  <c:v>445794</c:v>
                </c:pt>
                <c:pt idx="135">
                  <c:v>455257</c:v>
                </c:pt>
                <c:pt idx="136">
                  <c:v>463869</c:v>
                </c:pt>
                <c:pt idx="137">
                  <c:v>471792</c:v>
                </c:pt>
                <c:pt idx="138">
                  <c:v>477607</c:v>
                </c:pt>
                <c:pt idx="139">
                  <c:v>479969</c:v>
                </c:pt>
                <c:pt idx="140">
                  <c:v>481789</c:v>
                </c:pt>
                <c:pt idx="141">
                  <c:v>487325</c:v>
                </c:pt>
                <c:pt idx="142">
                  <c:v>493312</c:v>
                </c:pt>
                <c:pt idx="143">
                  <c:v>499499</c:v>
                </c:pt>
                <c:pt idx="144">
                  <c:v>506527</c:v>
                </c:pt>
                <c:pt idx="145">
                  <c:v>512146</c:v>
                </c:pt>
                <c:pt idx="146">
                  <c:v>514708</c:v>
                </c:pt>
                <c:pt idx="147">
                  <c:v>516615</c:v>
                </c:pt>
                <c:pt idx="148">
                  <c:v>522810</c:v>
                </c:pt>
                <c:pt idx="149">
                  <c:v>529070</c:v>
                </c:pt>
                <c:pt idx="150">
                  <c:v>536378</c:v>
                </c:pt>
                <c:pt idx="151">
                  <c:v>547037</c:v>
                </c:pt>
                <c:pt idx="152">
                  <c:v>555945</c:v>
                </c:pt>
                <c:pt idx="153">
                  <c:v>560773</c:v>
                </c:pt>
                <c:pt idx="154">
                  <c:v>563867</c:v>
                </c:pt>
                <c:pt idx="155">
                  <c:v>578955</c:v>
                </c:pt>
                <c:pt idx="156">
                  <c:v>594696</c:v>
                </c:pt>
                <c:pt idx="157">
                  <c:v>616067</c:v>
                </c:pt>
                <c:pt idx="158">
                  <c:v>640756</c:v>
                </c:pt>
                <c:pt idx="159">
                  <c:v>660296</c:v>
                </c:pt>
                <c:pt idx="160">
                  <c:v>668941</c:v>
                </c:pt>
                <c:pt idx="161">
                  <c:v>675314</c:v>
                </c:pt>
                <c:pt idx="162">
                  <c:v>698835</c:v>
                </c:pt>
                <c:pt idx="163">
                  <c:v>719337</c:v>
                </c:pt>
                <c:pt idx="164">
                  <c:v>742378</c:v>
                </c:pt>
                <c:pt idx="165">
                  <c:v>762692</c:v>
                </c:pt>
                <c:pt idx="166">
                  <c:v>778571</c:v>
                </c:pt>
                <c:pt idx="167">
                  <c:v>782849</c:v>
                </c:pt>
                <c:pt idx="168">
                  <c:v>787569</c:v>
                </c:pt>
                <c:pt idx="169">
                  <c:v>801472</c:v>
                </c:pt>
                <c:pt idx="170">
                  <c:v>814730</c:v>
                </c:pt>
                <c:pt idx="171">
                  <c:v>827772</c:v>
                </c:pt>
                <c:pt idx="172">
                  <c:v>840262</c:v>
                </c:pt>
                <c:pt idx="173">
                  <c:v>850294</c:v>
                </c:pt>
                <c:pt idx="174">
                  <c:v>853913</c:v>
                </c:pt>
                <c:pt idx="175">
                  <c:v>856648</c:v>
                </c:pt>
                <c:pt idx="176">
                  <c:v>865836</c:v>
                </c:pt>
                <c:pt idx="177">
                  <c:v>875809</c:v>
                </c:pt>
                <c:pt idx="178">
                  <c:v>885151</c:v>
                </c:pt>
                <c:pt idx="179">
                  <c:v>894067</c:v>
                </c:pt>
                <c:pt idx="180">
                  <c:v>900601</c:v>
                </c:pt>
                <c:pt idx="181">
                  <c:v>903052</c:v>
                </c:pt>
                <c:pt idx="182">
                  <c:v>904899</c:v>
                </c:pt>
                <c:pt idx="183">
                  <c:v>911824</c:v>
                </c:pt>
                <c:pt idx="184">
                  <c:v>919353</c:v>
                </c:pt>
                <c:pt idx="185">
                  <c:v>926302</c:v>
                </c:pt>
                <c:pt idx="186">
                  <c:v>932924</c:v>
                </c:pt>
                <c:pt idx="187">
                  <c:v>938436</c:v>
                </c:pt>
                <c:pt idx="188">
                  <c:v>940035</c:v>
                </c:pt>
                <c:pt idx="189">
                  <c:v>941132</c:v>
                </c:pt>
                <c:pt idx="190">
                  <c:v>942250</c:v>
                </c:pt>
                <c:pt idx="191">
                  <c:v>943415</c:v>
                </c:pt>
                <c:pt idx="192">
                  <c:v>948809</c:v>
                </c:pt>
                <c:pt idx="193">
                  <c:v>954241</c:v>
                </c:pt>
                <c:pt idx="194">
                  <c:v>958310</c:v>
                </c:pt>
                <c:pt idx="195">
                  <c:v>959368</c:v>
                </c:pt>
                <c:pt idx="196">
                  <c:v>9601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5–59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GP$1</c:f>
              <c:strCache>
                <c:ptCount val="197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  <c:pt idx="176">
                  <c:v>21-VI.</c:v>
                </c:pt>
                <c:pt idx="177">
                  <c:v>22-VI.</c:v>
                </c:pt>
                <c:pt idx="178">
                  <c:v>23-VI.</c:v>
                </c:pt>
                <c:pt idx="179">
                  <c:v>24-VI.</c:v>
                </c:pt>
                <c:pt idx="180">
                  <c:v>25-VI.</c:v>
                </c:pt>
                <c:pt idx="181">
                  <c:v>26-VI.</c:v>
                </c:pt>
                <c:pt idx="182">
                  <c:v>27-VI.</c:v>
                </c:pt>
                <c:pt idx="183">
                  <c:v>28-VI.</c:v>
                </c:pt>
                <c:pt idx="184">
                  <c:v>29-VI.</c:v>
                </c:pt>
                <c:pt idx="185">
                  <c:v>30-VI.</c:v>
                </c:pt>
                <c:pt idx="186">
                  <c:v>1-VII.</c:v>
                </c:pt>
                <c:pt idx="187">
                  <c:v>2-VII.</c:v>
                </c:pt>
                <c:pt idx="188">
                  <c:v>3-VII.</c:v>
                </c:pt>
                <c:pt idx="189">
                  <c:v>4-VII.</c:v>
                </c:pt>
                <c:pt idx="190">
                  <c:v>5-VII.</c:v>
                </c:pt>
                <c:pt idx="191">
                  <c:v>6-VII.</c:v>
                </c:pt>
                <c:pt idx="192">
                  <c:v>7-VII.</c:v>
                </c:pt>
                <c:pt idx="193">
                  <c:v>8-VII.</c:v>
                </c:pt>
                <c:pt idx="194">
                  <c:v>9-VII.</c:v>
                </c:pt>
                <c:pt idx="195">
                  <c:v>10-VII.</c:v>
                </c:pt>
                <c:pt idx="196">
                  <c:v>11-VII.</c:v>
                </c:pt>
              </c:strCache>
            </c:strRef>
          </c:cat>
          <c:val>
            <c:numRef>
              <c:f>List1!$B$4:$GP$4</c:f>
              <c:numCache>
                <c:formatCode>General</c:formatCode>
                <c:ptCount val="197"/>
                <c:pt idx="0">
                  <c:v>107</c:v>
                </c:pt>
                <c:pt idx="1">
                  <c:v>309</c:v>
                </c:pt>
                <c:pt idx="2">
                  <c:v>643</c:v>
                </c:pt>
                <c:pt idx="3">
                  <c:v>1016</c:v>
                </c:pt>
                <c:pt idx="4">
                  <c:v>1129</c:v>
                </c:pt>
                <c:pt idx="5">
                  <c:v>1159</c:v>
                </c:pt>
                <c:pt idx="6">
                  <c:v>1286</c:v>
                </c:pt>
                <c:pt idx="7">
                  <c:v>1386</c:v>
                </c:pt>
                <c:pt idx="8">
                  <c:v>1808</c:v>
                </c:pt>
                <c:pt idx="9">
                  <c:v>2329</c:v>
                </c:pt>
                <c:pt idx="10">
                  <c:v>2980</c:v>
                </c:pt>
                <c:pt idx="11">
                  <c:v>3818</c:v>
                </c:pt>
                <c:pt idx="12">
                  <c:v>4831</c:v>
                </c:pt>
                <c:pt idx="13">
                  <c:v>5045</c:v>
                </c:pt>
                <c:pt idx="14">
                  <c:v>5232</c:v>
                </c:pt>
                <c:pt idx="15">
                  <c:v>6270</c:v>
                </c:pt>
                <c:pt idx="16">
                  <c:v>7540</c:v>
                </c:pt>
                <c:pt idx="17">
                  <c:v>8885</c:v>
                </c:pt>
                <c:pt idx="18">
                  <c:v>10373</c:v>
                </c:pt>
                <c:pt idx="19">
                  <c:v>11754</c:v>
                </c:pt>
                <c:pt idx="20">
                  <c:v>11943</c:v>
                </c:pt>
                <c:pt idx="21">
                  <c:v>12082</c:v>
                </c:pt>
                <c:pt idx="22">
                  <c:v>13114</c:v>
                </c:pt>
                <c:pt idx="23">
                  <c:v>14275</c:v>
                </c:pt>
                <c:pt idx="24">
                  <c:v>15451</c:v>
                </c:pt>
                <c:pt idx="25">
                  <c:v>16524</c:v>
                </c:pt>
                <c:pt idx="26">
                  <c:v>17374</c:v>
                </c:pt>
                <c:pt idx="27">
                  <c:v>17570</c:v>
                </c:pt>
                <c:pt idx="28">
                  <c:v>17703</c:v>
                </c:pt>
                <c:pt idx="29">
                  <c:v>18442</c:v>
                </c:pt>
                <c:pt idx="30">
                  <c:v>19417</c:v>
                </c:pt>
                <c:pt idx="31">
                  <c:v>20369</c:v>
                </c:pt>
                <c:pt idx="32">
                  <c:v>21302</c:v>
                </c:pt>
                <c:pt idx="33">
                  <c:v>22439</c:v>
                </c:pt>
                <c:pt idx="34">
                  <c:v>22585</c:v>
                </c:pt>
                <c:pt idx="35">
                  <c:v>22706</c:v>
                </c:pt>
                <c:pt idx="36">
                  <c:v>23678</c:v>
                </c:pt>
                <c:pt idx="37">
                  <c:v>24891</c:v>
                </c:pt>
                <c:pt idx="38">
                  <c:v>26258</c:v>
                </c:pt>
                <c:pt idx="39">
                  <c:v>27744</c:v>
                </c:pt>
                <c:pt idx="40">
                  <c:v>29045</c:v>
                </c:pt>
                <c:pt idx="41">
                  <c:v>29196</c:v>
                </c:pt>
                <c:pt idx="42">
                  <c:v>29339</c:v>
                </c:pt>
                <c:pt idx="43">
                  <c:v>30409</c:v>
                </c:pt>
                <c:pt idx="44">
                  <c:v>31513</c:v>
                </c:pt>
                <c:pt idx="45">
                  <c:v>32740</c:v>
                </c:pt>
                <c:pt idx="46">
                  <c:v>33987</c:v>
                </c:pt>
                <c:pt idx="47">
                  <c:v>35134</c:v>
                </c:pt>
                <c:pt idx="48">
                  <c:v>35325</c:v>
                </c:pt>
                <c:pt idx="49">
                  <c:v>35405</c:v>
                </c:pt>
                <c:pt idx="50">
                  <c:v>36127</c:v>
                </c:pt>
                <c:pt idx="51">
                  <c:v>36878</c:v>
                </c:pt>
                <c:pt idx="52">
                  <c:v>37777</c:v>
                </c:pt>
                <c:pt idx="53">
                  <c:v>38738</c:v>
                </c:pt>
                <c:pt idx="54">
                  <c:v>39635</c:v>
                </c:pt>
                <c:pt idx="55">
                  <c:v>39726</c:v>
                </c:pt>
                <c:pt idx="56">
                  <c:v>39775</c:v>
                </c:pt>
                <c:pt idx="57">
                  <c:v>40476</c:v>
                </c:pt>
                <c:pt idx="58">
                  <c:v>41307</c:v>
                </c:pt>
                <c:pt idx="59">
                  <c:v>42253</c:v>
                </c:pt>
                <c:pt idx="60">
                  <c:v>43319</c:v>
                </c:pt>
                <c:pt idx="61">
                  <c:v>44385</c:v>
                </c:pt>
                <c:pt idx="62">
                  <c:v>44503</c:v>
                </c:pt>
                <c:pt idx="63">
                  <c:v>44710</c:v>
                </c:pt>
                <c:pt idx="64">
                  <c:v>46400</c:v>
                </c:pt>
                <c:pt idx="65">
                  <c:v>49601</c:v>
                </c:pt>
                <c:pt idx="66">
                  <c:v>52290</c:v>
                </c:pt>
                <c:pt idx="67">
                  <c:v>54764</c:v>
                </c:pt>
                <c:pt idx="68">
                  <c:v>56994</c:v>
                </c:pt>
                <c:pt idx="69">
                  <c:v>58114</c:v>
                </c:pt>
                <c:pt idx="70">
                  <c:v>59005</c:v>
                </c:pt>
                <c:pt idx="71">
                  <c:v>61256</c:v>
                </c:pt>
                <c:pt idx="72">
                  <c:v>63730</c:v>
                </c:pt>
                <c:pt idx="73">
                  <c:v>66335</c:v>
                </c:pt>
                <c:pt idx="74">
                  <c:v>68983</c:v>
                </c:pt>
                <c:pt idx="75">
                  <c:v>71323</c:v>
                </c:pt>
                <c:pt idx="76">
                  <c:v>72279</c:v>
                </c:pt>
                <c:pt idx="77">
                  <c:v>72917</c:v>
                </c:pt>
                <c:pt idx="78">
                  <c:v>74516</c:v>
                </c:pt>
                <c:pt idx="79">
                  <c:v>76910</c:v>
                </c:pt>
                <c:pt idx="80">
                  <c:v>79147</c:v>
                </c:pt>
                <c:pt idx="81">
                  <c:v>81346</c:v>
                </c:pt>
                <c:pt idx="82">
                  <c:v>83826</c:v>
                </c:pt>
                <c:pt idx="83">
                  <c:v>84683</c:v>
                </c:pt>
                <c:pt idx="84">
                  <c:v>85027</c:v>
                </c:pt>
                <c:pt idx="85">
                  <c:v>87064</c:v>
                </c:pt>
                <c:pt idx="86">
                  <c:v>89299</c:v>
                </c:pt>
                <c:pt idx="87">
                  <c:v>91565</c:v>
                </c:pt>
                <c:pt idx="88">
                  <c:v>93769</c:v>
                </c:pt>
                <c:pt idx="89">
                  <c:v>96195</c:v>
                </c:pt>
                <c:pt idx="90">
                  <c:v>96982</c:v>
                </c:pt>
                <c:pt idx="91">
                  <c:v>97656</c:v>
                </c:pt>
                <c:pt idx="92">
                  <c:v>100022</c:v>
                </c:pt>
                <c:pt idx="93">
                  <c:v>102780</c:v>
                </c:pt>
                <c:pt idx="94">
                  <c:v>105668</c:v>
                </c:pt>
                <c:pt idx="95">
                  <c:v>108869</c:v>
                </c:pt>
                <c:pt idx="96">
                  <c:v>109999</c:v>
                </c:pt>
                <c:pt idx="97">
                  <c:v>110861</c:v>
                </c:pt>
                <c:pt idx="98">
                  <c:v>111563</c:v>
                </c:pt>
                <c:pt idx="99">
                  <c:v>112042</c:v>
                </c:pt>
                <c:pt idx="100">
                  <c:v>114778</c:v>
                </c:pt>
                <c:pt idx="101">
                  <c:v>117461</c:v>
                </c:pt>
                <c:pt idx="102">
                  <c:v>120499</c:v>
                </c:pt>
                <c:pt idx="103">
                  <c:v>124234</c:v>
                </c:pt>
                <c:pt idx="104">
                  <c:v>125730</c:v>
                </c:pt>
                <c:pt idx="105">
                  <c:v>126559</c:v>
                </c:pt>
                <c:pt idx="106">
                  <c:v>129603</c:v>
                </c:pt>
                <c:pt idx="107">
                  <c:v>132723</c:v>
                </c:pt>
                <c:pt idx="108">
                  <c:v>135792</c:v>
                </c:pt>
                <c:pt idx="109">
                  <c:v>139452</c:v>
                </c:pt>
                <c:pt idx="110">
                  <c:v>143823</c:v>
                </c:pt>
                <c:pt idx="111">
                  <c:v>145648</c:v>
                </c:pt>
                <c:pt idx="112">
                  <c:v>146583</c:v>
                </c:pt>
                <c:pt idx="113">
                  <c:v>149723</c:v>
                </c:pt>
                <c:pt idx="114">
                  <c:v>152836</c:v>
                </c:pt>
                <c:pt idx="115">
                  <c:v>156055</c:v>
                </c:pt>
                <c:pt idx="116">
                  <c:v>159873</c:v>
                </c:pt>
                <c:pt idx="117">
                  <c:v>163565</c:v>
                </c:pt>
                <c:pt idx="118">
                  <c:v>164515</c:v>
                </c:pt>
                <c:pt idx="119">
                  <c:v>165375</c:v>
                </c:pt>
                <c:pt idx="120">
                  <c:v>167638</c:v>
                </c:pt>
                <c:pt idx="121">
                  <c:v>170094</c:v>
                </c:pt>
                <c:pt idx="122">
                  <c:v>173252</c:v>
                </c:pt>
                <c:pt idx="123">
                  <c:v>179711</c:v>
                </c:pt>
                <c:pt idx="124">
                  <c:v>187856</c:v>
                </c:pt>
                <c:pt idx="125">
                  <c:v>192179</c:v>
                </c:pt>
                <c:pt idx="126">
                  <c:v>196491</c:v>
                </c:pt>
                <c:pt idx="127">
                  <c:v>213803</c:v>
                </c:pt>
                <c:pt idx="128">
                  <c:v>233089</c:v>
                </c:pt>
                <c:pt idx="129">
                  <c:v>254791</c:v>
                </c:pt>
                <c:pt idx="130">
                  <c:v>277628</c:v>
                </c:pt>
                <c:pt idx="131">
                  <c:v>299727</c:v>
                </c:pt>
                <c:pt idx="132">
                  <c:v>307335</c:v>
                </c:pt>
                <c:pt idx="133">
                  <c:v>313990</c:v>
                </c:pt>
                <c:pt idx="134">
                  <c:v>330086</c:v>
                </c:pt>
                <c:pt idx="135">
                  <c:v>345794</c:v>
                </c:pt>
                <c:pt idx="136">
                  <c:v>359608</c:v>
                </c:pt>
                <c:pt idx="137">
                  <c:v>371915</c:v>
                </c:pt>
                <c:pt idx="138">
                  <c:v>385407</c:v>
                </c:pt>
                <c:pt idx="139">
                  <c:v>389897</c:v>
                </c:pt>
                <c:pt idx="140">
                  <c:v>393553</c:v>
                </c:pt>
                <c:pt idx="141">
                  <c:v>401617</c:v>
                </c:pt>
                <c:pt idx="142">
                  <c:v>409623</c:v>
                </c:pt>
                <c:pt idx="143">
                  <c:v>417409</c:v>
                </c:pt>
                <c:pt idx="144">
                  <c:v>425156</c:v>
                </c:pt>
                <c:pt idx="145">
                  <c:v>432811</c:v>
                </c:pt>
                <c:pt idx="146">
                  <c:v>436409</c:v>
                </c:pt>
                <c:pt idx="147">
                  <c:v>438892</c:v>
                </c:pt>
                <c:pt idx="148">
                  <c:v>444144</c:v>
                </c:pt>
                <c:pt idx="149">
                  <c:v>450700</c:v>
                </c:pt>
                <c:pt idx="150">
                  <c:v>457655</c:v>
                </c:pt>
                <c:pt idx="151">
                  <c:v>464819</c:v>
                </c:pt>
                <c:pt idx="152">
                  <c:v>471943</c:v>
                </c:pt>
                <c:pt idx="153">
                  <c:v>474848</c:v>
                </c:pt>
                <c:pt idx="154">
                  <c:v>476941</c:v>
                </c:pt>
                <c:pt idx="155">
                  <c:v>482405</c:v>
                </c:pt>
                <c:pt idx="156">
                  <c:v>488136</c:v>
                </c:pt>
                <c:pt idx="157">
                  <c:v>493998</c:v>
                </c:pt>
                <c:pt idx="158">
                  <c:v>499930</c:v>
                </c:pt>
                <c:pt idx="159">
                  <c:v>506409</c:v>
                </c:pt>
                <c:pt idx="160">
                  <c:v>508607</c:v>
                </c:pt>
                <c:pt idx="161">
                  <c:v>509986</c:v>
                </c:pt>
                <c:pt idx="162">
                  <c:v>514686</c:v>
                </c:pt>
                <c:pt idx="163">
                  <c:v>519300</c:v>
                </c:pt>
                <c:pt idx="164">
                  <c:v>524150</c:v>
                </c:pt>
                <c:pt idx="165">
                  <c:v>531663</c:v>
                </c:pt>
                <c:pt idx="166">
                  <c:v>541298</c:v>
                </c:pt>
                <c:pt idx="167">
                  <c:v>546432</c:v>
                </c:pt>
                <c:pt idx="168">
                  <c:v>551022</c:v>
                </c:pt>
                <c:pt idx="169">
                  <c:v>569158</c:v>
                </c:pt>
                <c:pt idx="170">
                  <c:v>588930</c:v>
                </c:pt>
                <c:pt idx="171">
                  <c:v>610652</c:v>
                </c:pt>
                <c:pt idx="172">
                  <c:v>633166</c:v>
                </c:pt>
                <c:pt idx="173">
                  <c:v>655282</c:v>
                </c:pt>
                <c:pt idx="174">
                  <c:v>662892</c:v>
                </c:pt>
                <c:pt idx="175">
                  <c:v>669548</c:v>
                </c:pt>
                <c:pt idx="176">
                  <c:v>686254</c:v>
                </c:pt>
                <c:pt idx="177">
                  <c:v>702512</c:v>
                </c:pt>
                <c:pt idx="178">
                  <c:v>716511</c:v>
                </c:pt>
                <c:pt idx="179">
                  <c:v>729283</c:v>
                </c:pt>
                <c:pt idx="180">
                  <c:v>743260</c:v>
                </c:pt>
                <c:pt idx="181">
                  <c:v>748020</c:v>
                </c:pt>
                <c:pt idx="182">
                  <c:v>751943</c:v>
                </c:pt>
                <c:pt idx="183">
                  <c:v>761130</c:v>
                </c:pt>
                <c:pt idx="184">
                  <c:v>770093</c:v>
                </c:pt>
                <c:pt idx="185">
                  <c:v>778779</c:v>
                </c:pt>
                <c:pt idx="186">
                  <c:v>786616</c:v>
                </c:pt>
                <c:pt idx="187">
                  <c:v>794835</c:v>
                </c:pt>
                <c:pt idx="188">
                  <c:v>797759</c:v>
                </c:pt>
                <c:pt idx="189">
                  <c:v>799936</c:v>
                </c:pt>
                <c:pt idx="190">
                  <c:v>801750</c:v>
                </c:pt>
                <c:pt idx="191">
                  <c:v>803559</c:v>
                </c:pt>
                <c:pt idx="192">
                  <c:v>809603</c:v>
                </c:pt>
                <c:pt idx="193">
                  <c:v>815317</c:v>
                </c:pt>
                <c:pt idx="194">
                  <c:v>820771</c:v>
                </c:pt>
                <c:pt idx="195">
                  <c:v>822554</c:v>
                </c:pt>
                <c:pt idx="196">
                  <c:v>8238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0–64</c:v>
                </c:pt>
              </c:strCache>
            </c:strRef>
          </c:tx>
          <c:spPr>
            <a:ln w="28575" cap="rnd">
              <a:solidFill>
                <a:srgbClr val="FFCC99"/>
              </a:solidFill>
              <a:round/>
            </a:ln>
            <a:effectLst/>
          </c:spPr>
          <c:marker>
            <c:symbol val="none"/>
          </c:marker>
          <c:cat>
            <c:strRef>
              <c:f>List1!$B$1:$GP$1</c:f>
              <c:strCache>
                <c:ptCount val="197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  <c:pt idx="176">
                  <c:v>21-VI.</c:v>
                </c:pt>
                <c:pt idx="177">
                  <c:v>22-VI.</c:v>
                </c:pt>
                <c:pt idx="178">
                  <c:v>23-VI.</c:v>
                </c:pt>
                <c:pt idx="179">
                  <c:v>24-VI.</c:v>
                </c:pt>
                <c:pt idx="180">
                  <c:v>25-VI.</c:v>
                </c:pt>
                <c:pt idx="181">
                  <c:v>26-VI.</c:v>
                </c:pt>
                <c:pt idx="182">
                  <c:v>27-VI.</c:v>
                </c:pt>
                <c:pt idx="183">
                  <c:v>28-VI.</c:v>
                </c:pt>
                <c:pt idx="184">
                  <c:v>29-VI.</c:v>
                </c:pt>
                <c:pt idx="185">
                  <c:v>30-VI.</c:v>
                </c:pt>
                <c:pt idx="186">
                  <c:v>1-VII.</c:v>
                </c:pt>
                <c:pt idx="187">
                  <c:v>2-VII.</c:v>
                </c:pt>
                <c:pt idx="188">
                  <c:v>3-VII.</c:v>
                </c:pt>
                <c:pt idx="189">
                  <c:v>4-VII.</c:v>
                </c:pt>
                <c:pt idx="190">
                  <c:v>5-VII.</c:v>
                </c:pt>
                <c:pt idx="191">
                  <c:v>6-VII.</c:v>
                </c:pt>
                <c:pt idx="192">
                  <c:v>7-VII.</c:v>
                </c:pt>
                <c:pt idx="193">
                  <c:v>8-VII.</c:v>
                </c:pt>
                <c:pt idx="194">
                  <c:v>9-VII.</c:v>
                </c:pt>
                <c:pt idx="195">
                  <c:v>10-VII.</c:v>
                </c:pt>
                <c:pt idx="196">
                  <c:v>11-VII.</c:v>
                </c:pt>
              </c:strCache>
            </c:strRef>
          </c:cat>
          <c:val>
            <c:numRef>
              <c:f>List1!$B$5:$GP$5</c:f>
              <c:numCache>
                <c:formatCode>General</c:formatCode>
                <c:ptCount val="197"/>
                <c:pt idx="0">
                  <c:v>96</c:v>
                </c:pt>
                <c:pt idx="1">
                  <c:v>279</c:v>
                </c:pt>
                <c:pt idx="2">
                  <c:v>527</c:v>
                </c:pt>
                <c:pt idx="3">
                  <c:v>822</c:v>
                </c:pt>
                <c:pt idx="4">
                  <c:v>908</c:v>
                </c:pt>
                <c:pt idx="5">
                  <c:v>931</c:v>
                </c:pt>
                <c:pt idx="6">
                  <c:v>1039</c:v>
                </c:pt>
                <c:pt idx="7">
                  <c:v>1102</c:v>
                </c:pt>
                <c:pt idx="8">
                  <c:v>1392</c:v>
                </c:pt>
                <c:pt idx="9">
                  <c:v>1730</c:v>
                </c:pt>
                <c:pt idx="10">
                  <c:v>2193</c:v>
                </c:pt>
                <c:pt idx="11">
                  <c:v>2861</c:v>
                </c:pt>
                <c:pt idx="12">
                  <c:v>3611</c:v>
                </c:pt>
                <c:pt idx="13">
                  <c:v>3791</c:v>
                </c:pt>
                <c:pt idx="14">
                  <c:v>3933</c:v>
                </c:pt>
                <c:pt idx="15">
                  <c:v>4727</c:v>
                </c:pt>
                <c:pt idx="16">
                  <c:v>5749</c:v>
                </c:pt>
                <c:pt idx="17">
                  <c:v>6721</c:v>
                </c:pt>
                <c:pt idx="18">
                  <c:v>7847</c:v>
                </c:pt>
                <c:pt idx="19">
                  <c:v>8963</c:v>
                </c:pt>
                <c:pt idx="20">
                  <c:v>9145</c:v>
                </c:pt>
                <c:pt idx="21">
                  <c:v>9285</c:v>
                </c:pt>
                <c:pt idx="22">
                  <c:v>10190</c:v>
                </c:pt>
                <c:pt idx="23">
                  <c:v>11092</c:v>
                </c:pt>
                <c:pt idx="24">
                  <c:v>12062</c:v>
                </c:pt>
                <c:pt idx="25">
                  <c:v>12848</c:v>
                </c:pt>
                <c:pt idx="26">
                  <c:v>13416</c:v>
                </c:pt>
                <c:pt idx="27">
                  <c:v>13570</c:v>
                </c:pt>
                <c:pt idx="28">
                  <c:v>13670</c:v>
                </c:pt>
                <c:pt idx="29">
                  <c:v>14210</c:v>
                </c:pt>
                <c:pt idx="30">
                  <c:v>14916</c:v>
                </c:pt>
                <c:pt idx="31">
                  <c:v>15595</c:v>
                </c:pt>
                <c:pt idx="32">
                  <c:v>16369</c:v>
                </c:pt>
                <c:pt idx="33">
                  <c:v>17232</c:v>
                </c:pt>
                <c:pt idx="34">
                  <c:v>17349</c:v>
                </c:pt>
                <c:pt idx="35">
                  <c:v>17455</c:v>
                </c:pt>
                <c:pt idx="36">
                  <c:v>18235</c:v>
                </c:pt>
                <c:pt idx="37">
                  <c:v>19193</c:v>
                </c:pt>
                <c:pt idx="38">
                  <c:v>20159</c:v>
                </c:pt>
                <c:pt idx="39">
                  <c:v>21260</c:v>
                </c:pt>
                <c:pt idx="40">
                  <c:v>22352</c:v>
                </c:pt>
                <c:pt idx="41">
                  <c:v>22494</c:v>
                </c:pt>
                <c:pt idx="42">
                  <c:v>22593</c:v>
                </c:pt>
                <c:pt idx="43">
                  <c:v>23489</c:v>
                </c:pt>
                <c:pt idx="44">
                  <c:v>24333</c:v>
                </c:pt>
                <c:pt idx="45">
                  <c:v>25287</c:v>
                </c:pt>
                <c:pt idx="46">
                  <c:v>26347</c:v>
                </c:pt>
                <c:pt idx="47">
                  <c:v>27231</c:v>
                </c:pt>
                <c:pt idx="48">
                  <c:v>27375</c:v>
                </c:pt>
                <c:pt idx="49">
                  <c:v>27431</c:v>
                </c:pt>
                <c:pt idx="50">
                  <c:v>28025</c:v>
                </c:pt>
                <c:pt idx="51">
                  <c:v>28640</c:v>
                </c:pt>
                <c:pt idx="52">
                  <c:v>29319</c:v>
                </c:pt>
                <c:pt idx="53">
                  <c:v>30151</c:v>
                </c:pt>
                <c:pt idx="54">
                  <c:v>30795</c:v>
                </c:pt>
                <c:pt idx="55">
                  <c:v>30881</c:v>
                </c:pt>
                <c:pt idx="56">
                  <c:v>30930</c:v>
                </c:pt>
                <c:pt idx="57">
                  <c:v>31484</c:v>
                </c:pt>
                <c:pt idx="58">
                  <c:v>32164</c:v>
                </c:pt>
                <c:pt idx="59">
                  <c:v>33002</c:v>
                </c:pt>
                <c:pt idx="60">
                  <c:v>33873</c:v>
                </c:pt>
                <c:pt idx="61">
                  <c:v>34734</c:v>
                </c:pt>
                <c:pt idx="62">
                  <c:v>34827</c:v>
                </c:pt>
                <c:pt idx="63">
                  <c:v>34959</c:v>
                </c:pt>
                <c:pt idx="64">
                  <c:v>36407</c:v>
                </c:pt>
                <c:pt idx="65">
                  <c:v>39110</c:v>
                </c:pt>
                <c:pt idx="66">
                  <c:v>41483</c:v>
                </c:pt>
                <c:pt idx="67">
                  <c:v>44026</c:v>
                </c:pt>
                <c:pt idx="68">
                  <c:v>45933</c:v>
                </c:pt>
                <c:pt idx="69">
                  <c:v>46755</c:v>
                </c:pt>
                <c:pt idx="70">
                  <c:v>47430</c:v>
                </c:pt>
                <c:pt idx="71">
                  <c:v>49274</c:v>
                </c:pt>
                <c:pt idx="72">
                  <c:v>51385</c:v>
                </c:pt>
                <c:pt idx="73">
                  <c:v>53290</c:v>
                </c:pt>
                <c:pt idx="74">
                  <c:v>55385</c:v>
                </c:pt>
                <c:pt idx="75">
                  <c:v>57073</c:v>
                </c:pt>
                <c:pt idx="76">
                  <c:v>57675</c:v>
                </c:pt>
                <c:pt idx="77">
                  <c:v>58042</c:v>
                </c:pt>
                <c:pt idx="78">
                  <c:v>59197</c:v>
                </c:pt>
                <c:pt idx="79">
                  <c:v>60896</c:v>
                </c:pt>
                <c:pt idx="80">
                  <c:v>62508</c:v>
                </c:pt>
                <c:pt idx="81">
                  <c:v>64060</c:v>
                </c:pt>
                <c:pt idx="82">
                  <c:v>65952</c:v>
                </c:pt>
                <c:pt idx="83">
                  <c:v>66380</c:v>
                </c:pt>
                <c:pt idx="84">
                  <c:v>66573</c:v>
                </c:pt>
                <c:pt idx="85">
                  <c:v>68232</c:v>
                </c:pt>
                <c:pt idx="86">
                  <c:v>69998</c:v>
                </c:pt>
                <c:pt idx="87">
                  <c:v>72061</c:v>
                </c:pt>
                <c:pt idx="88">
                  <c:v>74155</c:v>
                </c:pt>
                <c:pt idx="89">
                  <c:v>76281</c:v>
                </c:pt>
                <c:pt idx="90">
                  <c:v>76775</c:v>
                </c:pt>
                <c:pt idx="91">
                  <c:v>77223</c:v>
                </c:pt>
                <c:pt idx="92">
                  <c:v>79552</c:v>
                </c:pt>
                <c:pt idx="93">
                  <c:v>82206</c:v>
                </c:pt>
                <c:pt idx="94">
                  <c:v>84701</c:v>
                </c:pt>
                <c:pt idx="95">
                  <c:v>87586</c:v>
                </c:pt>
                <c:pt idx="96">
                  <c:v>88367</c:v>
                </c:pt>
                <c:pt idx="97">
                  <c:v>89053</c:v>
                </c:pt>
                <c:pt idx="98">
                  <c:v>89479</c:v>
                </c:pt>
                <c:pt idx="99">
                  <c:v>89910</c:v>
                </c:pt>
                <c:pt idx="100">
                  <c:v>92175</c:v>
                </c:pt>
                <c:pt idx="101">
                  <c:v>94411</c:v>
                </c:pt>
                <c:pt idx="102">
                  <c:v>97545</c:v>
                </c:pt>
                <c:pt idx="103">
                  <c:v>100901</c:v>
                </c:pt>
                <c:pt idx="104">
                  <c:v>102123</c:v>
                </c:pt>
                <c:pt idx="105">
                  <c:v>102830</c:v>
                </c:pt>
                <c:pt idx="106">
                  <c:v>106042</c:v>
                </c:pt>
                <c:pt idx="107">
                  <c:v>109123</c:v>
                </c:pt>
                <c:pt idx="108">
                  <c:v>112424</c:v>
                </c:pt>
                <c:pt idx="109">
                  <c:v>116487</c:v>
                </c:pt>
                <c:pt idx="110">
                  <c:v>121135</c:v>
                </c:pt>
                <c:pt idx="111">
                  <c:v>122426</c:v>
                </c:pt>
                <c:pt idx="112">
                  <c:v>123275</c:v>
                </c:pt>
                <c:pt idx="113">
                  <c:v>126790</c:v>
                </c:pt>
                <c:pt idx="114">
                  <c:v>130325</c:v>
                </c:pt>
                <c:pt idx="115">
                  <c:v>134269</c:v>
                </c:pt>
                <c:pt idx="116">
                  <c:v>138806</c:v>
                </c:pt>
                <c:pt idx="117">
                  <c:v>143261</c:v>
                </c:pt>
                <c:pt idx="118">
                  <c:v>145166</c:v>
                </c:pt>
                <c:pt idx="119">
                  <c:v>148126</c:v>
                </c:pt>
                <c:pt idx="120">
                  <c:v>156993</c:v>
                </c:pt>
                <c:pt idx="121">
                  <c:v>169617</c:v>
                </c:pt>
                <c:pt idx="122">
                  <c:v>186418</c:v>
                </c:pt>
                <c:pt idx="123">
                  <c:v>208507</c:v>
                </c:pt>
                <c:pt idx="124">
                  <c:v>229688</c:v>
                </c:pt>
                <c:pt idx="125">
                  <c:v>236519</c:v>
                </c:pt>
                <c:pt idx="126">
                  <c:v>242304</c:v>
                </c:pt>
                <c:pt idx="127">
                  <c:v>263836</c:v>
                </c:pt>
                <c:pt idx="128">
                  <c:v>281619</c:v>
                </c:pt>
                <c:pt idx="129">
                  <c:v>301496</c:v>
                </c:pt>
                <c:pt idx="130">
                  <c:v>319599</c:v>
                </c:pt>
                <c:pt idx="131">
                  <c:v>336686</c:v>
                </c:pt>
                <c:pt idx="132">
                  <c:v>341530</c:v>
                </c:pt>
                <c:pt idx="133">
                  <c:v>345546</c:v>
                </c:pt>
                <c:pt idx="134">
                  <c:v>357233</c:v>
                </c:pt>
                <c:pt idx="135">
                  <c:v>368649</c:v>
                </c:pt>
                <c:pt idx="136">
                  <c:v>378536</c:v>
                </c:pt>
                <c:pt idx="137">
                  <c:v>387712</c:v>
                </c:pt>
                <c:pt idx="138">
                  <c:v>395873</c:v>
                </c:pt>
                <c:pt idx="139">
                  <c:v>398605</c:v>
                </c:pt>
                <c:pt idx="140">
                  <c:v>400644</c:v>
                </c:pt>
                <c:pt idx="141">
                  <c:v>406125</c:v>
                </c:pt>
                <c:pt idx="142">
                  <c:v>412008</c:v>
                </c:pt>
                <c:pt idx="143">
                  <c:v>417860</c:v>
                </c:pt>
                <c:pt idx="144">
                  <c:v>424085</c:v>
                </c:pt>
                <c:pt idx="145">
                  <c:v>429748</c:v>
                </c:pt>
                <c:pt idx="146">
                  <c:v>432334</c:v>
                </c:pt>
                <c:pt idx="147">
                  <c:v>434129</c:v>
                </c:pt>
                <c:pt idx="148">
                  <c:v>439078</c:v>
                </c:pt>
                <c:pt idx="149">
                  <c:v>444817</c:v>
                </c:pt>
                <c:pt idx="150">
                  <c:v>451086</c:v>
                </c:pt>
                <c:pt idx="151">
                  <c:v>457849</c:v>
                </c:pt>
                <c:pt idx="152">
                  <c:v>464318</c:v>
                </c:pt>
                <c:pt idx="153">
                  <c:v>466354</c:v>
                </c:pt>
                <c:pt idx="154">
                  <c:v>467884</c:v>
                </c:pt>
                <c:pt idx="155">
                  <c:v>473133</c:v>
                </c:pt>
                <c:pt idx="156">
                  <c:v>478761</c:v>
                </c:pt>
                <c:pt idx="157">
                  <c:v>484724</c:v>
                </c:pt>
                <c:pt idx="158">
                  <c:v>490842</c:v>
                </c:pt>
                <c:pt idx="159">
                  <c:v>496836</c:v>
                </c:pt>
                <c:pt idx="160">
                  <c:v>499518</c:v>
                </c:pt>
                <c:pt idx="161">
                  <c:v>502797</c:v>
                </c:pt>
                <c:pt idx="162">
                  <c:v>512716</c:v>
                </c:pt>
                <c:pt idx="163">
                  <c:v>525862</c:v>
                </c:pt>
                <c:pt idx="164">
                  <c:v>542603</c:v>
                </c:pt>
                <c:pt idx="165">
                  <c:v>564051</c:v>
                </c:pt>
                <c:pt idx="166">
                  <c:v>585413</c:v>
                </c:pt>
                <c:pt idx="167">
                  <c:v>592760</c:v>
                </c:pt>
                <c:pt idx="168">
                  <c:v>598482</c:v>
                </c:pt>
                <c:pt idx="169">
                  <c:v>620417</c:v>
                </c:pt>
                <c:pt idx="170">
                  <c:v>638532</c:v>
                </c:pt>
                <c:pt idx="171">
                  <c:v>658223</c:v>
                </c:pt>
                <c:pt idx="172">
                  <c:v>675738</c:v>
                </c:pt>
                <c:pt idx="173">
                  <c:v>692716</c:v>
                </c:pt>
                <c:pt idx="174">
                  <c:v>697633</c:v>
                </c:pt>
                <c:pt idx="175">
                  <c:v>701711</c:v>
                </c:pt>
                <c:pt idx="176">
                  <c:v>713751</c:v>
                </c:pt>
                <c:pt idx="177">
                  <c:v>725273</c:v>
                </c:pt>
                <c:pt idx="178">
                  <c:v>735601</c:v>
                </c:pt>
                <c:pt idx="179">
                  <c:v>745190</c:v>
                </c:pt>
                <c:pt idx="180">
                  <c:v>753904</c:v>
                </c:pt>
                <c:pt idx="181">
                  <c:v>756898</c:v>
                </c:pt>
                <c:pt idx="182">
                  <c:v>759179</c:v>
                </c:pt>
                <c:pt idx="183">
                  <c:v>765805</c:v>
                </c:pt>
                <c:pt idx="184">
                  <c:v>772848</c:v>
                </c:pt>
                <c:pt idx="185">
                  <c:v>779316</c:v>
                </c:pt>
                <c:pt idx="186">
                  <c:v>785621</c:v>
                </c:pt>
                <c:pt idx="187">
                  <c:v>791189</c:v>
                </c:pt>
                <c:pt idx="188">
                  <c:v>793051</c:v>
                </c:pt>
                <c:pt idx="189">
                  <c:v>794435</c:v>
                </c:pt>
                <c:pt idx="190">
                  <c:v>795759</c:v>
                </c:pt>
                <c:pt idx="191">
                  <c:v>797120</c:v>
                </c:pt>
                <c:pt idx="192">
                  <c:v>802160</c:v>
                </c:pt>
                <c:pt idx="193">
                  <c:v>806986</c:v>
                </c:pt>
                <c:pt idx="194">
                  <c:v>811029</c:v>
                </c:pt>
                <c:pt idx="195">
                  <c:v>812229</c:v>
                </c:pt>
                <c:pt idx="196">
                  <c:v>8130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9B2-46E3-85FE-A83BCF6CC085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50–54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B$1:$GP$1</c:f>
              <c:strCache>
                <c:ptCount val="197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  <c:pt idx="176">
                  <c:v>21-VI.</c:v>
                </c:pt>
                <c:pt idx="177">
                  <c:v>22-VI.</c:v>
                </c:pt>
                <c:pt idx="178">
                  <c:v>23-VI.</c:v>
                </c:pt>
                <c:pt idx="179">
                  <c:v>24-VI.</c:v>
                </c:pt>
                <c:pt idx="180">
                  <c:v>25-VI.</c:v>
                </c:pt>
                <c:pt idx="181">
                  <c:v>26-VI.</c:v>
                </c:pt>
                <c:pt idx="182">
                  <c:v>27-VI.</c:v>
                </c:pt>
                <c:pt idx="183">
                  <c:v>28-VI.</c:v>
                </c:pt>
                <c:pt idx="184">
                  <c:v>29-VI.</c:v>
                </c:pt>
                <c:pt idx="185">
                  <c:v>30-VI.</c:v>
                </c:pt>
                <c:pt idx="186">
                  <c:v>1-VII.</c:v>
                </c:pt>
                <c:pt idx="187">
                  <c:v>2-VII.</c:v>
                </c:pt>
                <c:pt idx="188">
                  <c:v>3-VII.</c:v>
                </c:pt>
                <c:pt idx="189">
                  <c:v>4-VII.</c:v>
                </c:pt>
                <c:pt idx="190">
                  <c:v>5-VII.</c:v>
                </c:pt>
                <c:pt idx="191">
                  <c:v>6-VII.</c:v>
                </c:pt>
                <c:pt idx="192">
                  <c:v>7-VII.</c:v>
                </c:pt>
                <c:pt idx="193">
                  <c:v>8-VII.</c:v>
                </c:pt>
                <c:pt idx="194">
                  <c:v>9-VII.</c:v>
                </c:pt>
                <c:pt idx="195">
                  <c:v>10-VII.</c:v>
                </c:pt>
                <c:pt idx="196">
                  <c:v>11-VII.</c:v>
                </c:pt>
              </c:strCache>
            </c:strRef>
          </c:cat>
          <c:val>
            <c:numRef>
              <c:f>List1!$B$6:$GP$6</c:f>
              <c:numCache>
                <c:formatCode>General</c:formatCode>
                <c:ptCount val="197"/>
                <c:pt idx="0">
                  <c:v>142</c:v>
                </c:pt>
                <c:pt idx="1">
                  <c:v>385</c:v>
                </c:pt>
                <c:pt idx="2">
                  <c:v>743</c:v>
                </c:pt>
                <c:pt idx="3">
                  <c:v>1109</c:v>
                </c:pt>
                <c:pt idx="4">
                  <c:v>1229</c:v>
                </c:pt>
                <c:pt idx="5">
                  <c:v>1262</c:v>
                </c:pt>
                <c:pt idx="6">
                  <c:v>1406</c:v>
                </c:pt>
                <c:pt idx="7">
                  <c:v>1517</c:v>
                </c:pt>
                <c:pt idx="8">
                  <c:v>1930</c:v>
                </c:pt>
                <c:pt idx="9">
                  <c:v>2496</c:v>
                </c:pt>
                <c:pt idx="10">
                  <c:v>3213</c:v>
                </c:pt>
                <c:pt idx="11">
                  <c:v>4136</c:v>
                </c:pt>
                <c:pt idx="12">
                  <c:v>5254</c:v>
                </c:pt>
                <c:pt idx="13">
                  <c:v>5447</c:v>
                </c:pt>
                <c:pt idx="14">
                  <c:v>5634</c:v>
                </c:pt>
                <c:pt idx="15">
                  <c:v>6700</c:v>
                </c:pt>
                <c:pt idx="16">
                  <c:v>8020</c:v>
                </c:pt>
                <c:pt idx="17">
                  <c:v>9449</c:v>
                </c:pt>
                <c:pt idx="18">
                  <c:v>10956</c:v>
                </c:pt>
                <c:pt idx="19">
                  <c:v>12403</c:v>
                </c:pt>
                <c:pt idx="20">
                  <c:v>12615</c:v>
                </c:pt>
                <c:pt idx="21">
                  <c:v>12776</c:v>
                </c:pt>
                <c:pt idx="22">
                  <c:v>13884</c:v>
                </c:pt>
                <c:pt idx="23">
                  <c:v>15029</c:v>
                </c:pt>
                <c:pt idx="24">
                  <c:v>16197</c:v>
                </c:pt>
                <c:pt idx="25">
                  <c:v>17311</c:v>
                </c:pt>
                <c:pt idx="26">
                  <c:v>18110</c:v>
                </c:pt>
                <c:pt idx="27">
                  <c:v>18319</c:v>
                </c:pt>
                <c:pt idx="28">
                  <c:v>18469</c:v>
                </c:pt>
                <c:pt idx="29">
                  <c:v>19177</c:v>
                </c:pt>
                <c:pt idx="30">
                  <c:v>20198</c:v>
                </c:pt>
                <c:pt idx="31">
                  <c:v>21205</c:v>
                </c:pt>
                <c:pt idx="32">
                  <c:v>22203</c:v>
                </c:pt>
                <c:pt idx="33">
                  <c:v>23424</c:v>
                </c:pt>
                <c:pt idx="34">
                  <c:v>23542</c:v>
                </c:pt>
                <c:pt idx="35">
                  <c:v>23672</c:v>
                </c:pt>
                <c:pt idx="36">
                  <c:v>24713</c:v>
                </c:pt>
                <c:pt idx="37">
                  <c:v>25990</c:v>
                </c:pt>
                <c:pt idx="38">
                  <c:v>27387</c:v>
                </c:pt>
                <c:pt idx="39">
                  <c:v>28937</c:v>
                </c:pt>
                <c:pt idx="40">
                  <c:v>30325</c:v>
                </c:pt>
                <c:pt idx="41">
                  <c:v>30481</c:v>
                </c:pt>
                <c:pt idx="42">
                  <c:v>30605</c:v>
                </c:pt>
                <c:pt idx="43">
                  <c:v>31657</c:v>
                </c:pt>
                <c:pt idx="44">
                  <c:v>32719</c:v>
                </c:pt>
                <c:pt idx="45">
                  <c:v>33898</c:v>
                </c:pt>
                <c:pt idx="46">
                  <c:v>35147</c:v>
                </c:pt>
                <c:pt idx="47">
                  <c:v>36306</c:v>
                </c:pt>
                <c:pt idx="48">
                  <c:v>36491</c:v>
                </c:pt>
                <c:pt idx="49">
                  <c:v>36575</c:v>
                </c:pt>
                <c:pt idx="50">
                  <c:v>37339</c:v>
                </c:pt>
                <c:pt idx="51">
                  <c:v>38129</c:v>
                </c:pt>
                <c:pt idx="52">
                  <c:v>39036</c:v>
                </c:pt>
                <c:pt idx="53">
                  <c:v>39983</c:v>
                </c:pt>
                <c:pt idx="54">
                  <c:v>40887</c:v>
                </c:pt>
                <c:pt idx="55">
                  <c:v>40977</c:v>
                </c:pt>
                <c:pt idx="56">
                  <c:v>41031</c:v>
                </c:pt>
                <c:pt idx="57">
                  <c:v>41707</c:v>
                </c:pt>
                <c:pt idx="58">
                  <c:v>42604</c:v>
                </c:pt>
                <c:pt idx="59">
                  <c:v>43535</c:v>
                </c:pt>
                <c:pt idx="60">
                  <c:v>44603</c:v>
                </c:pt>
                <c:pt idx="61">
                  <c:v>45597</c:v>
                </c:pt>
                <c:pt idx="62">
                  <c:v>45706</c:v>
                </c:pt>
                <c:pt idx="63">
                  <c:v>45868</c:v>
                </c:pt>
                <c:pt idx="64">
                  <c:v>47056</c:v>
                </c:pt>
                <c:pt idx="65">
                  <c:v>48850</c:v>
                </c:pt>
                <c:pt idx="66">
                  <c:v>50785</c:v>
                </c:pt>
                <c:pt idx="67">
                  <c:v>52524</c:v>
                </c:pt>
                <c:pt idx="68">
                  <c:v>54200</c:v>
                </c:pt>
                <c:pt idx="69">
                  <c:v>54946</c:v>
                </c:pt>
                <c:pt idx="70">
                  <c:v>55692</c:v>
                </c:pt>
                <c:pt idx="71">
                  <c:v>57331</c:v>
                </c:pt>
                <c:pt idx="72">
                  <c:v>59635</c:v>
                </c:pt>
                <c:pt idx="73">
                  <c:v>61506</c:v>
                </c:pt>
                <c:pt idx="74">
                  <c:v>63695</c:v>
                </c:pt>
                <c:pt idx="75">
                  <c:v>65715</c:v>
                </c:pt>
                <c:pt idx="76">
                  <c:v>66485</c:v>
                </c:pt>
                <c:pt idx="77">
                  <c:v>67105</c:v>
                </c:pt>
                <c:pt idx="78">
                  <c:v>68489</c:v>
                </c:pt>
                <c:pt idx="79">
                  <c:v>70786</c:v>
                </c:pt>
                <c:pt idx="80">
                  <c:v>72832</c:v>
                </c:pt>
                <c:pt idx="81">
                  <c:v>74968</c:v>
                </c:pt>
                <c:pt idx="82">
                  <c:v>77221</c:v>
                </c:pt>
                <c:pt idx="83">
                  <c:v>78221</c:v>
                </c:pt>
                <c:pt idx="84">
                  <c:v>78642</c:v>
                </c:pt>
                <c:pt idx="85">
                  <c:v>80391</c:v>
                </c:pt>
                <c:pt idx="86">
                  <c:v>82191</c:v>
                </c:pt>
                <c:pt idx="87">
                  <c:v>84027</c:v>
                </c:pt>
                <c:pt idx="88">
                  <c:v>85804</c:v>
                </c:pt>
                <c:pt idx="89">
                  <c:v>87931</c:v>
                </c:pt>
                <c:pt idx="90">
                  <c:v>88440</c:v>
                </c:pt>
                <c:pt idx="91">
                  <c:v>88920</c:v>
                </c:pt>
                <c:pt idx="92">
                  <c:v>90641</c:v>
                </c:pt>
                <c:pt idx="93">
                  <c:v>93029</c:v>
                </c:pt>
                <c:pt idx="94">
                  <c:v>95195</c:v>
                </c:pt>
                <c:pt idx="95">
                  <c:v>97728</c:v>
                </c:pt>
                <c:pt idx="96">
                  <c:v>98634</c:v>
                </c:pt>
                <c:pt idx="97">
                  <c:v>99334</c:v>
                </c:pt>
                <c:pt idx="98">
                  <c:v>99899</c:v>
                </c:pt>
                <c:pt idx="99">
                  <c:v>100416</c:v>
                </c:pt>
                <c:pt idx="100">
                  <c:v>102662</c:v>
                </c:pt>
                <c:pt idx="101">
                  <c:v>104862</c:v>
                </c:pt>
                <c:pt idx="102">
                  <c:v>107563</c:v>
                </c:pt>
                <c:pt idx="103">
                  <c:v>110751</c:v>
                </c:pt>
                <c:pt idx="104">
                  <c:v>112028</c:v>
                </c:pt>
                <c:pt idx="105">
                  <c:v>112916</c:v>
                </c:pt>
                <c:pt idx="106">
                  <c:v>115545</c:v>
                </c:pt>
                <c:pt idx="107">
                  <c:v>118668</c:v>
                </c:pt>
                <c:pt idx="108">
                  <c:v>121661</c:v>
                </c:pt>
                <c:pt idx="109">
                  <c:v>124810</c:v>
                </c:pt>
                <c:pt idx="110">
                  <c:v>128822</c:v>
                </c:pt>
                <c:pt idx="111">
                  <c:v>130644</c:v>
                </c:pt>
                <c:pt idx="112">
                  <c:v>131506</c:v>
                </c:pt>
                <c:pt idx="113">
                  <c:v>134484</c:v>
                </c:pt>
                <c:pt idx="114">
                  <c:v>137213</c:v>
                </c:pt>
                <c:pt idx="115">
                  <c:v>139931</c:v>
                </c:pt>
                <c:pt idx="116">
                  <c:v>143075</c:v>
                </c:pt>
                <c:pt idx="117">
                  <c:v>146415</c:v>
                </c:pt>
                <c:pt idx="118">
                  <c:v>147318</c:v>
                </c:pt>
                <c:pt idx="119">
                  <c:v>148025</c:v>
                </c:pt>
                <c:pt idx="120">
                  <c:v>149775</c:v>
                </c:pt>
                <c:pt idx="121">
                  <c:v>151782</c:v>
                </c:pt>
                <c:pt idx="122">
                  <c:v>154225</c:v>
                </c:pt>
                <c:pt idx="123">
                  <c:v>156805</c:v>
                </c:pt>
                <c:pt idx="124">
                  <c:v>159635</c:v>
                </c:pt>
                <c:pt idx="125">
                  <c:v>160441</c:v>
                </c:pt>
                <c:pt idx="126">
                  <c:v>161164</c:v>
                </c:pt>
                <c:pt idx="127">
                  <c:v>163472</c:v>
                </c:pt>
                <c:pt idx="128">
                  <c:v>166153</c:v>
                </c:pt>
                <c:pt idx="129">
                  <c:v>169977</c:v>
                </c:pt>
                <c:pt idx="130">
                  <c:v>179826</c:v>
                </c:pt>
                <c:pt idx="131">
                  <c:v>191916</c:v>
                </c:pt>
                <c:pt idx="132">
                  <c:v>199366</c:v>
                </c:pt>
                <c:pt idx="133">
                  <c:v>205748</c:v>
                </c:pt>
                <c:pt idx="134">
                  <c:v>228283</c:v>
                </c:pt>
                <c:pt idx="135">
                  <c:v>251114</c:v>
                </c:pt>
                <c:pt idx="136">
                  <c:v>276781</c:v>
                </c:pt>
                <c:pt idx="137">
                  <c:v>299598</c:v>
                </c:pt>
                <c:pt idx="138">
                  <c:v>322066</c:v>
                </c:pt>
                <c:pt idx="139">
                  <c:v>330104</c:v>
                </c:pt>
                <c:pt idx="140">
                  <c:v>336277</c:v>
                </c:pt>
                <c:pt idx="141">
                  <c:v>350278</c:v>
                </c:pt>
                <c:pt idx="142">
                  <c:v>363524</c:v>
                </c:pt>
                <c:pt idx="143">
                  <c:v>375999</c:v>
                </c:pt>
                <c:pt idx="144">
                  <c:v>387178</c:v>
                </c:pt>
                <c:pt idx="145">
                  <c:v>398556</c:v>
                </c:pt>
                <c:pt idx="146">
                  <c:v>402883</c:v>
                </c:pt>
                <c:pt idx="147">
                  <c:v>406233</c:v>
                </c:pt>
                <c:pt idx="148">
                  <c:v>412334</c:v>
                </c:pt>
                <c:pt idx="149">
                  <c:v>418853</c:v>
                </c:pt>
                <c:pt idx="150">
                  <c:v>427013</c:v>
                </c:pt>
                <c:pt idx="151">
                  <c:v>434741</c:v>
                </c:pt>
                <c:pt idx="152">
                  <c:v>443222</c:v>
                </c:pt>
                <c:pt idx="153">
                  <c:v>446941</c:v>
                </c:pt>
                <c:pt idx="154">
                  <c:v>449735</c:v>
                </c:pt>
                <c:pt idx="155">
                  <c:v>456020</c:v>
                </c:pt>
                <c:pt idx="156">
                  <c:v>462267</c:v>
                </c:pt>
                <c:pt idx="157">
                  <c:v>468509</c:v>
                </c:pt>
                <c:pt idx="158">
                  <c:v>474503</c:v>
                </c:pt>
                <c:pt idx="159">
                  <c:v>481433</c:v>
                </c:pt>
                <c:pt idx="160">
                  <c:v>483935</c:v>
                </c:pt>
                <c:pt idx="161">
                  <c:v>485626</c:v>
                </c:pt>
                <c:pt idx="162">
                  <c:v>490513</c:v>
                </c:pt>
                <c:pt idx="163">
                  <c:v>495319</c:v>
                </c:pt>
                <c:pt idx="164">
                  <c:v>500172</c:v>
                </c:pt>
                <c:pt idx="165">
                  <c:v>504568</c:v>
                </c:pt>
                <c:pt idx="166">
                  <c:v>509796</c:v>
                </c:pt>
                <c:pt idx="167">
                  <c:v>511805</c:v>
                </c:pt>
                <c:pt idx="168">
                  <c:v>513102</c:v>
                </c:pt>
                <c:pt idx="169">
                  <c:v>517376</c:v>
                </c:pt>
                <c:pt idx="170">
                  <c:v>521809</c:v>
                </c:pt>
                <c:pt idx="171">
                  <c:v>527030</c:v>
                </c:pt>
                <c:pt idx="172">
                  <c:v>537538</c:v>
                </c:pt>
                <c:pt idx="173">
                  <c:v>550430</c:v>
                </c:pt>
                <c:pt idx="174">
                  <c:v>558132</c:v>
                </c:pt>
                <c:pt idx="175">
                  <c:v>564704</c:v>
                </c:pt>
                <c:pt idx="176">
                  <c:v>587611</c:v>
                </c:pt>
                <c:pt idx="177">
                  <c:v>610571</c:v>
                </c:pt>
                <c:pt idx="178">
                  <c:v>635944</c:v>
                </c:pt>
                <c:pt idx="179">
                  <c:v>658649</c:v>
                </c:pt>
                <c:pt idx="180">
                  <c:v>681529</c:v>
                </c:pt>
                <c:pt idx="181">
                  <c:v>689860</c:v>
                </c:pt>
                <c:pt idx="182">
                  <c:v>696336</c:v>
                </c:pt>
                <c:pt idx="183">
                  <c:v>711573</c:v>
                </c:pt>
                <c:pt idx="184">
                  <c:v>725830</c:v>
                </c:pt>
                <c:pt idx="185">
                  <c:v>739104</c:v>
                </c:pt>
                <c:pt idx="186">
                  <c:v>750667</c:v>
                </c:pt>
                <c:pt idx="187">
                  <c:v>762786</c:v>
                </c:pt>
                <c:pt idx="188">
                  <c:v>766603</c:v>
                </c:pt>
                <c:pt idx="189">
                  <c:v>769637</c:v>
                </c:pt>
                <c:pt idx="190">
                  <c:v>772507</c:v>
                </c:pt>
                <c:pt idx="191">
                  <c:v>775150</c:v>
                </c:pt>
                <c:pt idx="192">
                  <c:v>782963</c:v>
                </c:pt>
                <c:pt idx="193">
                  <c:v>789763</c:v>
                </c:pt>
                <c:pt idx="194">
                  <c:v>796874</c:v>
                </c:pt>
                <c:pt idx="195">
                  <c:v>799599</c:v>
                </c:pt>
                <c:pt idx="196">
                  <c:v>8017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519-41FB-ABC8-408C78914621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45–49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strRef>
              <c:f>List1!$B$1:$GP$1</c:f>
              <c:strCache>
                <c:ptCount val="197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  <c:pt idx="176">
                  <c:v>21-VI.</c:v>
                </c:pt>
                <c:pt idx="177">
                  <c:v>22-VI.</c:v>
                </c:pt>
                <c:pt idx="178">
                  <c:v>23-VI.</c:v>
                </c:pt>
                <c:pt idx="179">
                  <c:v>24-VI.</c:v>
                </c:pt>
                <c:pt idx="180">
                  <c:v>25-VI.</c:v>
                </c:pt>
                <c:pt idx="181">
                  <c:v>26-VI.</c:v>
                </c:pt>
                <c:pt idx="182">
                  <c:v>27-VI.</c:v>
                </c:pt>
                <c:pt idx="183">
                  <c:v>28-VI.</c:v>
                </c:pt>
                <c:pt idx="184">
                  <c:v>29-VI.</c:v>
                </c:pt>
                <c:pt idx="185">
                  <c:v>30-VI.</c:v>
                </c:pt>
                <c:pt idx="186">
                  <c:v>1-VII.</c:v>
                </c:pt>
                <c:pt idx="187">
                  <c:v>2-VII.</c:v>
                </c:pt>
                <c:pt idx="188">
                  <c:v>3-VII.</c:v>
                </c:pt>
                <c:pt idx="189">
                  <c:v>4-VII.</c:v>
                </c:pt>
                <c:pt idx="190">
                  <c:v>5-VII.</c:v>
                </c:pt>
                <c:pt idx="191">
                  <c:v>6-VII.</c:v>
                </c:pt>
                <c:pt idx="192">
                  <c:v>7-VII.</c:v>
                </c:pt>
                <c:pt idx="193">
                  <c:v>8-VII.</c:v>
                </c:pt>
                <c:pt idx="194">
                  <c:v>9-VII.</c:v>
                </c:pt>
                <c:pt idx="195">
                  <c:v>10-VII.</c:v>
                </c:pt>
                <c:pt idx="196">
                  <c:v>11-VII.</c:v>
                </c:pt>
              </c:strCache>
            </c:strRef>
          </c:cat>
          <c:val>
            <c:numRef>
              <c:f>List1!$B$7:$GP$7</c:f>
              <c:numCache>
                <c:formatCode>General</c:formatCode>
                <c:ptCount val="197"/>
                <c:pt idx="0">
                  <c:v>132</c:v>
                </c:pt>
                <c:pt idx="1">
                  <c:v>406</c:v>
                </c:pt>
                <c:pt idx="2">
                  <c:v>787</c:v>
                </c:pt>
                <c:pt idx="3">
                  <c:v>1158</c:v>
                </c:pt>
                <c:pt idx="4">
                  <c:v>1289</c:v>
                </c:pt>
                <c:pt idx="5">
                  <c:v>1322</c:v>
                </c:pt>
                <c:pt idx="6">
                  <c:v>1479</c:v>
                </c:pt>
                <c:pt idx="7">
                  <c:v>1595</c:v>
                </c:pt>
                <c:pt idx="8">
                  <c:v>2068</c:v>
                </c:pt>
                <c:pt idx="9">
                  <c:v>2626</c:v>
                </c:pt>
                <c:pt idx="10">
                  <c:v>3372</c:v>
                </c:pt>
                <c:pt idx="11">
                  <c:v>4311</c:v>
                </c:pt>
                <c:pt idx="12">
                  <c:v>5493</c:v>
                </c:pt>
                <c:pt idx="13">
                  <c:v>5704</c:v>
                </c:pt>
                <c:pt idx="14">
                  <c:v>5899</c:v>
                </c:pt>
                <c:pt idx="15">
                  <c:v>7076</c:v>
                </c:pt>
                <c:pt idx="16">
                  <c:v>8574</c:v>
                </c:pt>
                <c:pt idx="17">
                  <c:v>9963</c:v>
                </c:pt>
                <c:pt idx="18">
                  <c:v>11458</c:v>
                </c:pt>
                <c:pt idx="19">
                  <c:v>12765</c:v>
                </c:pt>
                <c:pt idx="20">
                  <c:v>12921</c:v>
                </c:pt>
                <c:pt idx="21">
                  <c:v>13076</c:v>
                </c:pt>
                <c:pt idx="22">
                  <c:v>14134</c:v>
                </c:pt>
                <c:pt idx="23">
                  <c:v>15258</c:v>
                </c:pt>
                <c:pt idx="24">
                  <c:v>16328</c:v>
                </c:pt>
                <c:pt idx="25">
                  <c:v>17323</c:v>
                </c:pt>
                <c:pt idx="26">
                  <c:v>18112</c:v>
                </c:pt>
                <c:pt idx="27">
                  <c:v>18285</c:v>
                </c:pt>
                <c:pt idx="28">
                  <c:v>18429</c:v>
                </c:pt>
                <c:pt idx="29">
                  <c:v>19217</c:v>
                </c:pt>
                <c:pt idx="30">
                  <c:v>20147</c:v>
                </c:pt>
                <c:pt idx="31">
                  <c:v>21126</c:v>
                </c:pt>
                <c:pt idx="32">
                  <c:v>22165</c:v>
                </c:pt>
                <c:pt idx="33">
                  <c:v>23456</c:v>
                </c:pt>
                <c:pt idx="34">
                  <c:v>23596</c:v>
                </c:pt>
                <c:pt idx="35">
                  <c:v>23718</c:v>
                </c:pt>
                <c:pt idx="36">
                  <c:v>24779</c:v>
                </c:pt>
                <c:pt idx="37">
                  <c:v>26189</c:v>
                </c:pt>
                <c:pt idx="38">
                  <c:v>27619</c:v>
                </c:pt>
                <c:pt idx="39">
                  <c:v>29149</c:v>
                </c:pt>
                <c:pt idx="40">
                  <c:v>30449</c:v>
                </c:pt>
                <c:pt idx="41">
                  <c:v>30591</c:v>
                </c:pt>
                <c:pt idx="42">
                  <c:v>30723</c:v>
                </c:pt>
                <c:pt idx="43">
                  <c:v>31796</c:v>
                </c:pt>
                <c:pt idx="44">
                  <c:v>32880</c:v>
                </c:pt>
                <c:pt idx="45">
                  <c:v>34011</c:v>
                </c:pt>
                <c:pt idx="46">
                  <c:v>35264</c:v>
                </c:pt>
                <c:pt idx="47">
                  <c:v>36354</c:v>
                </c:pt>
                <c:pt idx="48">
                  <c:v>36497</c:v>
                </c:pt>
                <c:pt idx="49">
                  <c:v>36543</c:v>
                </c:pt>
                <c:pt idx="50">
                  <c:v>37267</c:v>
                </c:pt>
                <c:pt idx="51">
                  <c:v>37941</c:v>
                </c:pt>
                <c:pt idx="52">
                  <c:v>38715</c:v>
                </c:pt>
                <c:pt idx="53">
                  <c:v>39571</c:v>
                </c:pt>
                <c:pt idx="54">
                  <c:v>40398</c:v>
                </c:pt>
                <c:pt idx="55">
                  <c:v>40498</c:v>
                </c:pt>
                <c:pt idx="56">
                  <c:v>40565</c:v>
                </c:pt>
                <c:pt idx="57">
                  <c:v>41135</c:v>
                </c:pt>
                <c:pt idx="58">
                  <c:v>41939</c:v>
                </c:pt>
                <c:pt idx="59">
                  <c:v>42786</c:v>
                </c:pt>
                <c:pt idx="60">
                  <c:v>43857</c:v>
                </c:pt>
                <c:pt idx="61">
                  <c:v>44803</c:v>
                </c:pt>
                <c:pt idx="62">
                  <c:v>44914</c:v>
                </c:pt>
                <c:pt idx="63">
                  <c:v>45038</c:v>
                </c:pt>
                <c:pt idx="64">
                  <c:v>46185</c:v>
                </c:pt>
                <c:pt idx="65">
                  <c:v>47737</c:v>
                </c:pt>
                <c:pt idx="66">
                  <c:v>49542</c:v>
                </c:pt>
                <c:pt idx="67">
                  <c:v>51167</c:v>
                </c:pt>
                <c:pt idx="68">
                  <c:v>52661</c:v>
                </c:pt>
                <c:pt idx="69">
                  <c:v>53193</c:v>
                </c:pt>
                <c:pt idx="70">
                  <c:v>53809</c:v>
                </c:pt>
                <c:pt idx="71">
                  <c:v>55175</c:v>
                </c:pt>
                <c:pt idx="72">
                  <c:v>57128</c:v>
                </c:pt>
                <c:pt idx="73">
                  <c:v>58717</c:v>
                </c:pt>
                <c:pt idx="74">
                  <c:v>60713</c:v>
                </c:pt>
                <c:pt idx="75">
                  <c:v>62637</c:v>
                </c:pt>
                <c:pt idx="76">
                  <c:v>63439</c:v>
                </c:pt>
                <c:pt idx="77">
                  <c:v>63897</c:v>
                </c:pt>
                <c:pt idx="78">
                  <c:v>65201</c:v>
                </c:pt>
                <c:pt idx="79">
                  <c:v>67119</c:v>
                </c:pt>
                <c:pt idx="80">
                  <c:v>68809</c:v>
                </c:pt>
                <c:pt idx="81">
                  <c:v>70494</c:v>
                </c:pt>
                <c:pt idx="82">
                  <c:v>72387</c:v>
                </c:pt>
                <c:pt idx="83">
                  <c:v>72924</c:v>
                </c:pt>
                <c:pt idx="84">
                  <c:v>73222</c:v>
                </c:pt>
                <c:pt idx="85">
                  <c:v>74712</c:v>
                </c:pt>
                <c:pt idx="86">
                  <c:v>76278</c:v>
                </c:pt>
                <c:pt idx="87">
                  <c:v>77999</c:v>
                </c:pt>
                <c:pt idx="88">
                  <c:v>79795</c:v>
                </c:pt>
                <c:pt idx="89">
                  <c:v>81813</c:v>
                </c:pt>
                <c:pt idx="90">
                  <c:v>82200</c:v>
                </c:pt>
                <c:pt idx="91">
                  <c:v>82698</c:v>
                </c:pt>
                <c:pt idx="92">
                  <c:v>84375</c:v>
                </c:pt>
                <c:pt idx="93">
                  <c:v>86708</c:v>
                </c:pt>
                <c:pt idx="94">
                  <c:v>88795</c:v>
                </c:pt>
                <c:pt idx="95">
                  <c:v>91083</c:v>
                </c:pt>
                <c:pt idx="96">
                  <c:v>91829</c:v>
                </c:pt>
                <c:pt idx="97">
                  <c:v>92466</c:v>
                </c:pt>
                <c:pt idx="98">
                  <c:v>92991</c:v>
                </c:pt>
                <c:pt idx="99">
                  <c:v>93326</c:v>
                </c:pt>
                <c:pt idx="100">
                  <c:v>95254</c:v>
                </c:pt>
                <c:pt idx="101">
                  <c:v>97129</c:v>
                </c:pt>
                <c:pt idx="102">
                  <c:v>99550</c:v>
                </c:pt>
                <c:pt idx="103">
                  <c:v>102699</c:v>
                </c:pt>
                <c:pt idx="104">
                  <c:v>103960</c:v>
                </c:pt>
                <c:pt idx="105">
                  <c:v>104699</c:v>
                </c:pt>
                <c:pt idx="106">
                  <c:v>107007</c:v>
                </c:pt>
                <c:pt idx="107">
                  <c:v>109661</c:v>
                </c:pt>
                <c:pt idx="108">
                  <c:v>112261</c:v>
                </c:pt>
                <c:pt idx="109">
                  <c:v>115102</c:v>
                </c:pt>
                <c:pt idx="110">
                  <c:v>119165</c:v>
                </c:pt>
                <c:pt idx="111">
                  <c:v>120458</c:v>
                </c:pt>
                <c:pt idx="112">
                  <c:v>121326</c:v>
                </c:pt>
                <c:pt idx="113">
                  <c:v>123857</c:v>
                </c:pt>
                <c:pt idx="114">
                  <c:v>126321</c:v>
                </c:pt>
                <c:pt idx="115">
                  <c:v>128849</c:v>
                </c:pt>
                <c:pt idx="116">
                  <c:v>131626</c:v>
                </c:pt>
                <c:pt idx="117">
                  <c:v>134506</c:v>
                </c:pt>
                <c:pt idx="118">
                  <c:v>135518</c:v>
                </c:pt>
                <c:pt idx="119">
                  <c:v>136380</c:v>
                </c:pt>
                <c:pt idx="120">
                  <c:v>138061</c:v>
                </c:pt>
                <c:pt idx="121">
                  <c:v>140053</c:v>
                </c:pt>
                <c:pt idx="122">
                  <c:v>142256</c:v>
                </c:pt>
                <c:pt idx="123">
                  <c:v>144616</c:v>
                </c:pt>
                <c:pt idx="124">
                  <c:v>147209</c:v>
                </c:pt>
                <c:pt idx="125">
                  <c:v>147886</c:v>
                </c:pt>
                <c:pt idx="126">
                  <c:v>148487</c:v>
                </c:pt>
                <c:pt idx="127">
                  <c:v>150467</c:v>
                </c:pt>
                <c:pt idx="128">
                  <c:v>152718</c:v>
                </c:pt>
                <c:pt idx="129">
                  <c:v>155231</c:v>
                </c:pt>
                <c:pt idx="130">
                  <c:v>158289</c:v>
                </c:pt>
                <c:pt idx="131">
                  <c:v>161658</c:v>
                </c:pt>
                <c:pt idx="132">
                  <c:v>162728</c:v>
                </c:pt>
                <c:pt idx="133">
                  <c:v>163486</c:v>
                </c:pt>
                <c:pt idx="134">
                  <c:v>165851</c:v>
                </c:pt>
                <c:pt idx="135">
                  <c:v>169765</c:v>
                </c:pt>
                <c:pt idx="136">
                  <c:v>178743</c:v>
                </c:pt>
                <c:pt idx="137">
                  <c:v>195045</c:v>
                </c:pt>
                <c:pt idx="138">
                  <c:v>211593</c:v>
                </c:pt>
                <c:pt idx="139">
                  <c:v>219717</c:v>
                </c:pt>
                <c:pt idx="140">
                  <c:v>226364</c:v>
                </c:pt>
                <c:pt idx="141">
                  <c:v>251781</c:v>
                </c:pt>
                <c:pt idx="142">
                  <c:v>274176</c:v>
                </c:pt>
                <c:pt idx="143">
                  <c:v>297249</c:v>
                </c:pt>
                <c:pt idx="144">
                  <c:v>317302</c:v>
                </c:pt>
                <c:pt idx="145">
                  <c:v>337725</c:v>
                </c:pt>
                <c:pt idx="146">
                  <c:v>346948</c:v>
                </c:pt>
                <c:pt idx="147">
                  <c:v>353630</c:v>
                </c:pt>
                <c:pt idx="148">
                  <c:v>365589</c:v>
                </c:pt>
                <c:pt idx="149">
                  <c:v>376557</c:v>
                </c:pt>
                <c:pt idx="150">
                  <c:v>389481</c:v>
                </c:pt>
                <c:pt idx="151">
                  <c:v>400478</c:v>
                </c:pt>
                <c:pt idx="152">
                  <c:v>413098</c:v>
                </c:pt>
                <c:pt idx="153">
                  <c:v>418496</c:v>
                </c:pt>
                <c:pt idx="154">
                  <c:v>423058</c:v>
                </c:pt>
                <c:pt idx="155">
                  <c:v>431586</c:v>
                </c:pt>
                <c:pt idx="156">
                  <c:v>439927</c:v>
                </c:pt>
                <c:pt idx="157">
                  <c:v>448154</c:v>
                </c:pt>
                <c:pt idx="158">
                  <c:v>455754</c:v>
                </c:pt>
                <c:pt idx="159">
                  <c:v>464793</c:v>
                </c:pt>
                <c:pt idx="160">
                  <c:v>468595</c:v>
                </c:pt>
                <c:pt idx="161">
                  <c:v>471034</c:v>
                </c:pt>
                <c:pt idx="162">
                  <c:v>477164</c:v>
                </c:pt>
                <c:pt idx="163">
                  <c:v>482900</c:v>
                </c:pt>
                <c:pt idx="164">
                  <c:v>488358</c:v>
                </c:pt>
                <c:pt idx="165">
                  <c:v>493491</c:v>
                </c:pt>
                <c:pt idx="166">
                  <c:v>499479</c:v>
                </c:pt>
                <c:pt idx="167">
                  <c:v>502215</c:v>
                </c:pt>
                <c:pt idx="168">
                  <c:v>503797</c:v>
                </c:pt>
                <c:pt idx="169">
                  <c:v>508143</c:v>
                </c:pt>
                <c:pt idx="170">
                  <c:v>512573</c:v>
                </c:pt>
                <c:pt idx="171">
                  <c:v>517177</c:v>
                </c:pt>
                <c:pt idx="172">
                  <c:v>522089</c:v>
                </c:pt>
                <c:pt idx="173">
                  <c:v>527739</c:v>
                </c:pt>
                <c:pt idx="174">
                  <c:v>529954</c:v>
                </c:pt>
                <c:pt idx="175">
                  <c:v>531395</c:v>
                </c:pt>
                <c:pt idx="176">
                  <c:v>535601</c:v>
                </c:pt>
                <c:pt idx="177">
                  <c:v>541198</c:v>
                </c:pt>
                <c:pt idx="178">
                  <c:v>551240</c:v>
                </c:pt>
                <c:pt idx="179">
                  <c:v>567942</c:v>
                </c:pt>
                <c:pt idx="180">
                  <c:v>585462</c:v>
                </c:pt>
                <c:pt idx="181">
                  <c:v>594285</c:v>
                </c:pt>
                <c:pt idx="182">
                  <c:v>601535</c:v>
                </c:pt>
                <c:pt idx="183">
                  <c:v>628222</c:v>
                </c:pt>
                <c:pt idx="184">
                  <c:v>652035</c:v>
                </c:pt>
                <c:pt idx="185">
                  <c:v>676027</c:v>
                </c:pt>
                <c:pt idx="186">
                  <c:v>696912</c:v>
                </c:pt>
                <c:pt idx="187">
                  <c:v>718293</c:v>
                </c:pt>
                <c:pt idx="188">
                  <c:v>726740</c:v>
                </c:pt>
                <c:pt idx="189">
                  <c:v>732809</c:v>
                </c:pt>
                <c:pt idx="190">
                  <c:v>739619</c:v>
                </c:pt>
                <c:pt idx="191">
                  <c:v>745192</c:v>
                </c:pt>
                <c:pt idx="192">
                  <c:v>758793</c:v>
                </c:pt>
                <c:pt idx="193">
                  <c:v>769526</c:v>
                </c:pt>
                <c:pt idx="194">
                  <c:v>781061</c:v>
                </c:pt>
                <c:pt idx="195">
                  <c:v>785810</c:v>
                </c:pt>
                <c:pt idx="196">
                  <c:v>7892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3BA-4B78-8658-BD29E9C67F23}"/>
            </c:ext>
          </c:extLst>
        </c:ser>
        <c:ser>
          <c:idx val="6"/>
          <c:order val="6"/>
          <c:tx>
            <c:strRef>
              <c:f>List1!$A$8</c:f>
              <c:strCache>
                <c:ptCount val="1"/>
                <c:pt idx="0">
                  <c:v>40–44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GP$1</c:f>
              <c:strCache>
                <c:ptCount val="197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  <c:pt idx="176">
                  <c:v>21-VI.</c:v>
                </c:pt>
                <c:pt idx="177">
                  <c:v>22-VI.</c:v>
                </c:pt>
                <c:pt idx="178">
                  <c:v>23-VI.</c:v>
                </c:pt>
                <c:pt idx="179">
                  <c:v>24-VI.</c:v>
                </c:pt>
                <c:pt idx="180">
                  <c:v>25-VI.</c:v>
                </c:pt>
                <c:pt idx="181">
                  <c:v>26-VI.</c:v>
                </c:pt>
                <c:pt idx="182">
                  <c:v>27-VI.</c:v>
                </c:pt>
                <c:pt idx="183">
                  <c:v>28-VI.</c:v>
                </c:pt>
                <c:pt idx="184">
                  <c:v>29-VI.</c:v>
                </c:pt>
                <c:pt idx="185">
                  <c:v>30-VI.</c:v>
                </c:pt>
                <c:pt idx="186">
                  <c:v>1-VII.</c:v>
                </c:pt>
                <c:pt idx="187">
                  <c:v>2-VII.</c:v>
                </c:pt>
                <c:pt idx="188">
                  <c:v>3-VII.</c:v>
                </c:pt>
                <c:pt idx="189">
                  <c:v>4-VII.</c:v>
                </c:pt>
                <c:pt idx="190">
                  <c:v>5-VII.</c:v>
                </c:pt>
                <c:pt idx="191">
                  <c:v>6-VII.</c:v>
                </c:pt>
                <c:pt idx="192">
                  <c:v>7-VII.</c:v>
                </c:pt>
                <c:pt idx="193">
                  <c:v>8-VII.</c:v>
                </c:pt>
                <c:pt idx="194">
                  <c:v>9-VII.</c:v>
                </c:pt>
                <c:pt idx="195">
                  <c:v>10-VII.</c:v>
                </c:pt>
                <c:pt idx="196">
                  <c:v>11-VII.</c:v>
                </c:pt>
              </c:strCache>
            </c:strRef>
          </c:cat>
          <c:val>
            <c:numRef>
              <c:f>List1!$B$8:$GP$8</c:f>
              <c:numCache>
                <c:formatCode>General</c:formatCode>
                <c:ptCount val="197"/>
                <c:pt idx="0">
                  <c:v>178</c:v>
                </c:pt>
                <c:pt idx="1">
                  <c:v>471</c:v>
                </c:pt>
                <c:pt idx="2">
                  <c:v>904</c:v>
                </c:pt>
                <c:pt idx="3">
                  <c:v>1386</c:v>
                </c:pt>
                <c:pt idx="4">
                  <c:v>1541</c:v>
                </c:pt>
                <c:pt idx="5">
                  <c:v>1586</c:v>
                </c:pt>
                <c:pt idx="6">
                  <c:v>1788</c:v>
                </c:pt>
                <c:pt idx="7">
                  <c:v>1937</c:v>
                </c:pt>
                <c:pt idx="8">
                  <c:v>2454</c:v>
                </c:pt>
                <c:pt idx="9">
                  <c:v>3096</c:v>
                </c:pt>
                <c:pt idx="10">
                  <c:v>3931</c:v>
                </c:pt>
                <c:pt idx="11">
                  <c:v>4925</c:v>
                </c:pt>
                <c:pt idx="12">
                  <c:v>6201</c:v>
                </c:pt>
                <c:pt idx="13">
                  <c:v>6406</c:v>
                </c:pt>
                <c:pt idx="14">
                  <c:v>6614</c:v>
                </c:pt>
                <c:pt idx="15">
                  <c:v>7939</c:v>
                </c:pt>
                <c:pt idx="16">
                  <c:v>9511</c:v>
                </c:pt>
                <c:pt idx="17">
                  <c:v>10977</c:v>
                </c:pt>
                <c:pt idx="18">
                  <c:v>12565</c:v>
                </c:pt>
                <c:pt idx="19">
                  <c:v>13980</c:v>
                </c:pt>
                <c:pt idx="20">
                  <c:v>14191</c:v>
                </c:pt>
                <c:pt idx="21">
                  <c:v>14358</c:v>
                </c:pt>
                <c:pt idx="22">
                  <c:v>15576</c:v>
                </c:pt>
                <c:pt idx="23">
                  <c:v>16732</c:v>
                </c:pt>
                <c:pt idx="24">
                  <c:v>17824</c:v>
                </c:pt>
                <c:pt idx="25">
                  <c:v>18917</c:v>
                </c:pt>
                <c:pt idx="26">
                  <c:v>19776</c:v>
                </c:pt>
                <c:pt idx="27">
                  <c:v>19986</c:v>
                </c:pt>
                <c:pt idx="28">
                  <c:v>20152</c:v>
                </c:pt>
                <c:pt idx="29">
                  <c:v>20977</c:v>
                </c:pt>
                <c:pt idx="30">
                  <c:v>21981</c:v>
                </c:pt>
                <c:pt idx="31">
                  <c:v>23044</c:v>
                </c:pt>
                <c:pt idx="32">
                  <c:v>24145</c:v>
                </c:pt>
                <c:pt idx="33">
                  <c:v>25434</c:v>
                </c:pt>
                <c:pt idx="34">
                  <c:v>25566</c:v>
                </c:pt>
                <c:pt idx="35">
                  <c:v>25704</c:v>
                </c:pt>
                <c:pt idx="36">
                  <c:v>26933</c:v>
                </c:pt>
                <c:pt idx="37">
                  <c:v>28342</c:v>
                </c:pt>
                <c:pt idx="38">
                  <c:v>29828</c:v>
                </c:pt>
                <c:pt idx="39">
                  <c:v>31438</c:v>
                </c:pt>
                <c:pt idx="40">
                  <c:v>32824</c:v>
                </c:pt>
                <c:pt idx="41">
                  <c:v>32986</c:v>
                </c:pt>
                <c:pt idx="42">
                  <c:v>33108</c:v>
                </c:pt>
                <c:pt idx="43">
                  <c:v>34303</c:v>
                </c:pt>
                <c:pt idx="44">
                  <c:v>35462</c:v>
                </c:pt>
                <c:pt idx="45">
                  <c:v>36609</c:v>
                </c:pt>
                <c:pt idx="46">
                  <c:v>37857</c:v>
                </c:pt>
                <c:pt idx="47">
                  <c:v>39024</c:v>
                </c:pt>
                <c:pt idx="48">
                  <c:v>39186</c:v>
                </c:pt>
                <c:pt idx="49">
                  <c:v>39235</c:v>
                </c:pt>
                <c:pt idx="50">
                  <c:v>40023</c:v>
                </c:pt>
                <c:pt idx="51">
                  <c:v>40802</c:v>
                </c:pt>
                <c:pt idx="52">
                  <c:v>41582</c:v>
                </c:pt>
                <c:pt idx="53">
                  <c:v>42463</c:v>
                </c:pt>
                <c:pt idx="54">
                  <c:v>43310</c:v>
                </c:pt>
                <c:pt idx="55">
                  <c:v>43396</c:v>
                </c:pt>
                <c:pt idx="56">
                  <c:v>43421</c:v>
                </c:pt>
                <c:pt idx="57">
                  <c:v>44064</c:v>
                </c:pt>
                <c:pt idx="58">
                  <c:v>44956</c:v>
                </c:pt>
                <c:pt idx="59">
                  <c:v>45828</c:v>
                </c:pt>
                <c:pt idx="60">
                  <c:v>46892</c:v>
                </c:pt>
                <c:pt idx="61">
                  <c:v>47917</c:v>
                </c:pt>
                <c:pt idx="62">
                  <c:v>48065</c:v>
                </c:pt>
                <c:pt idx="63">
                  <c:v>48188</c:v>
                </c:pt>
                <c:pt idx="64">
                  <c:v>49402</c:v>
                </c:pt>
                <c:pt idx="65">
                  <c:v>51054</c:v>
                </c:pt>
                <c:pt idx="66">
                  <c:v>52933</c:v>
                </c:pt>
                <c:pt idx="67">
                  <c:v>54564</c:v>
                </c:pt>
                <c:pt idx="68">
                  <c:v>56154</c:v>
                </c:pt>
                <c:pt idx="69">
                  <c:v>56708</c:v>
                </c:pt>
                <c:pt idx="70">
                  <c:v>57336</c:v>
                </c:pt>
                <c:pt idx="71">
                  <c:v>58803</c:v>
                </c:pt>
                <c:pt idx="72">
                  <c:v>60646</c:v>
                </c:pt>
                <c:pt idx="73">
                  <c:v>62442</c:v>
                </c:pt>
                <c:pt idx="74">
                  <c:v>64531</c:v>
                </c:pt>
                <c:pt idx="75">
                  <c:v>66744</c:v>
                </c:pt>
                <c:pt idx="76">
                  <c:v>67407</c:v>
                </c:pt>
                <c:pt idx="77">
                  <c:v>67925</c:v>
                </c:pt>
                <c:pt idx="78">
                  <c:v>69472</c:v>
                </c:pt>
                <c:pt idx="79">
                  <c:v>71569</c:v>
                </c:pt>
                <c:pt idx="80">
                  <c:v>73342</c:v>
                </c:pt>
                <c:pt idx="81">
                  <c:v>75095</c:v>
                </c:pt>
                <c:pt idx="82">
                  <c:v>77135</c:v>
                </c:pt>
                <c:pt idx="83">
                  <c:v>77738</c:v>
                </c:pt>
                <c:pt idx="84">
                  <c:v>78014</c:v>
                </c:pt>
                <c:pt idx="85">
                  <c:v>79499</c:v>
                </c:pt>
                <c:pt idx="86">
                  <c:v>81014</c:v>
                </c:pt>
                <c:pt idx="87">
                  <c:v>82774</c:v>
                </c:pt>
                <c:pt idx="88">
                  <c:v>84632</c:v>
                </c:pt>
                <c:pt idx="89">
                  <c:v>86882</c:v>
                </c:pt>
                <c:pt idx="90">
                  <c:v>87354</c:v>
                </c:pt>
                <c:pt idx="91">
                  <c:v>87800</c:v>
                </c:pt>
                <c:pt idx="92">
                  <c:v>89529</c:v>
                </c:pt>
                <c:pt idx="93">
                  <c:v>91536</c:v>
                </c:pt>
                <c:pt idx="94">
                  <c:v>93644</c:v>
                </c:pt>
                <c:pt idx="95">
                  <c:v>96122</c:v>
                </c:pt>
                <c:pt idx="96">
                  <c:v>97026</c:v>
                </c:pt>
                <c:pt idx="97">
                  <c:v>97668</c:v>
                </c:pt>
                <c:pt idx="98">
                  <c:v>98207</c:v>
                </c:pt>
                <c:pt idx="99">
                  <c:v>98605</c:v>
                </c:pt>
                <c:pt idx="100">
                  <c:v>100493</c:v>
                </c:pt>
                <c:pt idx="101">
                  <c:v>102247</c:v>
                </c:pt>
                <c:pt idx="102">
                  <c:v>104796</c:v>
                </c:pt>
                <c:pt idx="103">
                  <c:v>107880</c:v>
                </c:pt>
                <c:pt idx="104">
                  <c:v>109455</c:v>
                </c:pt>
                <c:pt idx="105">
                  <c:v>110279</c:v>
                </c:pt>
                <c:pt idx="106">
                  <c:v>112655</c:v>
                </c:pt>
                <c:pt idx="107">
                  <c:v>115426</c:v>
                </c:pt>
                <c:pt idx="108">
                  <c:v>117882</c:v>
                </c:pt>
                <c:pt idx="109">
                  <c:v>120922</c:v>
                </c:pt>
                <c:pt idx="110">
                  <c:v>125146</c:v>
                </c:pt>
                <c:pt idx="111">
                  <c:v>126574</c:v>
                </c:pt>
                <c:pt idx="112">
                  <c:v>127623</c:v>
                </c:pt>
                <c:pt idx="113">
                  <c:v>130441</c:v>
                </c:pt>
                <c:pt idx="114">
                  <c:v>132906</c:v>
                </c:pt>
                <c:pt idx="115">
                  <c:v>135337</c:v>
                </c:pt>
                <c:pt idx="116">
                  <c:v>138340</c:v>
                </c:pt>
                <c:pt idx="117">
                  <c:v>141804</c:v>
                </c:pt>
                <c:pt idx="118">
                  <c:v>142763</c:v>
                </c:pt>
                <c:pt idx="119">
                  <c:v>143507</c:v>
                </c:pt>
                <c:pt idx="120">
                  <c:v>145215</c:v>
                </c:pt>
                <c:pt idx="121">
                  <c:v>146956</c:v>
                </c:pt>
                <c:pt idx="122">
                  <c:v>149097</c:v>
                </c:pt>
                <c:pt idx="123">
                  <c:v>151715</c:v>
                </c:pt>
                <c:pt idx="124">
                  <c:v>154474</c:v>
                </c:pt>
                <c:pt idx="125">
                  <c:v>155229</c:v>
                </c:pt>
                <c:pt idx="126">
                  <c:v>155837</c:v>
                </c:pt>
                <c:pt idx="127">
                  <c:v>157715</c:v>
                </c:pt>
                <c:pt idx="128">
                  <c:v>159995</c:v>
                </c:pt>
                <c:pt idx="129">
                  <c:v>162265</c:v>
                </c:pt>
                <c:pt idx="130">
                  <c:v>165263</c:v>
                </c:pt>
                <c:pt idx="131">
                  <c:v>168532</c:v>
                </c:pt>
                <c:pt idx="132">
                  <c:v>169652</c:v>
                </c:pt>
                <c:pt idx="133">
                  <c:v>170494</c:v>
                </c:pt>
                <c:pt idx="134">
                  <c:v>172907</c:v>
                </c:pt>
                <c:pt idx="135">
                  <c:v>175485</c:v>
                </c:pt>
                <c:pt idx="136">
                  <c:v>177997</c:v>
                </c:pt>
                <c:pt idx="137">
                  <c:v>180721</c:v>
                </c:pt>
                <c:pt idx="138">
                  <c:v>183333</c:v>
                </c:pt>
                <c:pt idx="139">
                  <c:v>184214</c:v>
                </c:pt>
                <c:pt idx="140">
                  <c:v>184868</c:v>
                </c:pt>
                <c:pt idx="141">
                  <c:v>187887</c:v>
                </c:pt>
                <c:pt idx="142">
                  <c:v>195210</c:v>
                </c:pt>
                <c:pt idx="143">
                  <c:v>209403</c:v>
                </c:pt>
                <c:pt idx="144">
                  <c:v>228362</c:v>
                </c:pt>
                <c:pt idx="145">
                  <c:v>245034</c:v>
                </c:pt>
                <c:pt idx="146">
                  <c:v>254972</c:v>
                </c:pt>
                <c:pt idx="147">
                  <c:v>261118</c:v>
                </c:pt>
                <c:pt idx="148">
                  <c:v>277526</c:v>
                </c:pt>
                <c:pt idx="149">
                  <c:v>295279</c:v>
                </c:pt>
                <c:pt idx="150">
                  <c:v>316656</c:v>
                </c:pt>
                <c:pt idx="151">
                  <c:v>336082</c:v>
                </c:pt>
                <c:pt idx="152">
                  <c:v>356592</c:v>
                </c:pt>
                <c:pt idx="153">
                  <c:v>367287</c:v>
                </c:pt>
                <c:pt idx="154">
                  <c:v>376439</c:v>
                </c:pt>
                <c:pt idx="155">
                  <c:v>395904</c:v>
                </c:pt>
                <c:pt idx="156">
                  <c:v>414406</c:v>
                </c:pt>
                <c:pt idx="157">
                  <c:v>430590</c:v>
                </c:pt>
                <c:pt idx="158">
                  <c:v>443540</c:v>
                </c:pt>
                <c:pt idx="159">
                  <c:v>459780</c:v>
                </c:pt>
                <c:pt idx="160">
                  <c:v>466113</c:v>
                </c:pt>
                <c:pt idx="161">
                  <c:v>470435</c:v>
                </c:pt>
                <c:pt idx="162">
                  <c:v>481357</c:v>
                </c:pt>
                <c:pt idx="163">
                  <c:v>491048</c:v>
                </c:pt>
                <c:pt idx="164">
                  <c:v>499764</c:v>
                </c:pt>
                <c:pt idx="165">
                  <c:v>507616</c:v>
                </c:pt>
                <c:pt idx="166">
                  <c:v>516377</c:v>
                </c:pt>
                <c:pt idx="167">
                  <c:v>521111</c:v>
                </c:pt>
                <c:pt idx="168">
                  <c:v>524047</c:v>
                </c:pt>
                <c:pt idx="169">
                  <c:v>530372</c:v>
                </c:pt>
                <c:pt idx="170">
                  <c:v>536918</c:v>
                </c:pt>
                <c:pt idx="171">
                  <c:v>543008</c:v>
                </c:pt>
                <c:pt idx="172">
                  <c:v>549335</c:v>
                </c:pt>
                <c:pt idx="173">
                  <c:v>556422</c:v>
                </c:pt>
                <c:pt idx="174">
                  <c:v>559361</c:v>
                </c:pt>
                <c:pt idx="175">
                  <c:v>561181</c:v>
                </c:pt>
                <c:pt idx="176">
                  <c:v>566495</c:v>
                </c:pt>
                <c:pt idx="177">
                  <c:v>571879</c:v>
                </c:pt>
                <c:pt idx="178">
                  <c:v>576821</c:v>
                </c:pt>
                <c:pt idx="179">
                  <c:v>582167</c:v>
                </c:pt>
                <c:pt idx="180">
                  <c:v>588186</c:v>
                </c:pt>
                <c:pt idx="181">
                  <c:v>591924</c:v>
                </c:pt>
                <c:pt idx="182">
                  <c:v>593982</c:v>
                </c:pt>
                <c:pt idx="183">
                  <c:v>600324</c:v>
                </c:pt>
                <c:pt idx="184">
                  <c:v>610896</c:v>
                </c:pt>
                <c:pt idx="185">
                  <c:v>627193</c:v>
                </c:pt>
                <c:pt idx="186">
                  <c:v>648019</c:v>
                </c:pt>
                <c:pt idx="187">
                  <c:v>667612</c:v>
                </c:pt>
                <c:pt idx="188">
                  <c:v>677064</c:v>
                </c:pt>
                <c:pt idx="189">
                  <c:v>683428</c:v>
                </c:pt>
                <c:pt idx="190">
                  <c:v>692522</c:v>
                </c:pt>
                <c:pt idx="191">
                  <c:v>702757</c:v>
                </c:pt>
                <c:pt idx="192">
                  <c:v>725117</c:v>
                </c:pt>
                <c:pt idx="193">
                  <c:v>743981</c:v>
                </c:pt>
                <c:pt idx="194">
                  <c:v>763428</c:v>
                </c:pt>
                <c:pt idx="195">
                  <c:v>773071</c:v>
                </c:pt>
                <c:pt idx="196">
                  <c:v>7812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231-4689-8D01-AE220FE5DCEE}"/>
            </c:ext>
          </c:extLst>
        </c:ser>
        <c:ser>
          <c:idx val="7"/>
          <c:order val="7"/>
          <c:tx>
            <c:strRef>
              <c:f>List1!$A$9</c:f>
              <c:strCache>
                <c:ptCount val="1"/>
                <c:pt idx="0">
                  <c:v>80+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GP$1</c:f>
              <c:strCache>
                <c:ptCount val="197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  <c:pt idx="176">
                  <c:v>21-VI.</c:v>
                </c:pt>
                <c:pt idx="177">
                  <c:v>22-VI.</c:v>
                </c:pt>
                <c:pt idx="178">
                  <c:v>23-VI.</c:v>
                </c:pt>
                <c:pt idx="179">
                  <c:v>24-VI.</c:v>
                </c:pt>
                <c:pt idx="180">
                  <c:v>25-VI.</c:v>
                </c:pt>
                <c:pt idx="181">
                  <c:v>26-VI.</c:v>
                </c:pt>
                <c:pt idx="182">
                  <c:v>27-VI.</c:v>
                </c:pt>
                <c:pt idx="183">
                  <c:v>28-VI.</c:v>
                </c:pt>
                <c:pt idx="184">
                  <c:v>29-VI.</c:v>
                </c:pt>
                <c:pt idx="185">
                  <c:v>30-VI.</c:v>
                </c:pt>
                <c:pt idx="186">
                  <c:v>1-VII.</c:v>
                </c:pt>
                <c:pt idx="187">
                  <c:v>2-VII.</c:v>
                </c:pt>
                <c:pt idx="188">
                  <c:v>3-VII.</c:v>
                </c:pt>
                <c:pt idx="189">
                  <c:v>4-VII.</c:v>
                </c:pt>
                <c:pt idx="190">
                  <c:v>5-VII.</c:v>
                </c:pt>
                <c:pt idx="191">
                  <c:v>6-VII.</c:v>
                </c:pt>
                <c:pt idx="192">
                  <c:v>7-VII.</c:v>
                </c:pt>
                <c:pt idx="193">
                  <c:v>8-VII.</c:v>
                </c:pt>
                <c:pt idx="194">
                  <c:v>9-VII.</c:v>
                </c:pt>
                <c:pt idx="195">
                  <c:v>10-VII.</c:v>
                </c:pt>
                <c:pt idx="196">
                  <c:v>11-VII.</c:v>
                </c:pt>
              </c:strCache>
            </c:strRef>
          </c:cat>
          <c:val>
            <c:numRef>
              <c:f>List1!$B$9:$GP$9</c:f>
              <c:numCache>
                <c:formatCode>General</c:formatCode>
                <c:ptCount val="197"/>
                <c:pt idx="0">
                  <c:v>26</c:v>
                </c:pt>
                <c:pt idx="1">
                  <c:v>125</c:v>
                </c:pt>
                <c:pt idx="2">
                  <c:v>405</c:v>
                </c:pt>
                <c:pt idx="3">
                  <c:v>599</c:v>
                </c:pt>
                <c:pt idx="4">
                  <c:v>717</c:v>
                </c:pt>
                <c:pt idx="5">
                  <c:v>720</c:v>
                </c:pt>
                <c:pt idx="6">
                  <c:v>732</c:v>
                </c:pt>
                <c:pt idx="7">
                  <c:v>735</c:v>
                </c:pt>
                <c:pt idx="8">
                  <c:v>766</c:v>
                </c:pt>
                <c:pt idx="9">
                  <c:v>807</c:v>
                </c:pt>
                <c:pt idx="10">
                  <c:v>874</c:v>
                </c:pt>
                <c:pt idx="11">
                  <c:v>1277</c:v>
                </c:pt>
                <c:pt idx="12">
                  <c:v>2137</c:v>
                </c:pt>
                <c:pt idx="13">
                  <c:v>2324</c:v>
                </c:pt>
                <c:pt idx="14">
                  <c:v>2431</c:v>
                </c:pt>
                <c:pt idx="15">
                  <c:v>3067</c:v>
                </c:pt>
                <c:pt idx="16">
                  <c:v>4727</c:v>
                </c:pt>
                <c:pt idx="17">
                  <c:v>6428</c:v>
                </c:pt>
                <c:pt idx="18">
                  <c:v>8716</c:v>
                </c:pt>
                <c:pt idx="19">
                  <c:v>11010</c:v>
                </c:pt>
                <c:pt idx="20">
                  <c:v>12518</c:v>
                </c:pt>
                <c:pt idx="21">
                  <c:v>14170</c:v>
                </c:pt>
                <c:pt idx="22">
                  <c:v>18930</c:v>
                </c:pt>
                <c:pt idx="23">
                  <c:v>24641</c:v>
                </c:pt>
                <c:pt idx="24">
                  <c:v>31236</c:v>
                </c:pt>
                <c:pt idx="25">
                  <c:v>39537</c:v>
                </c:pt>
                <c:pt idx="26">
                  <c:v>48493</c:v>
                </c:pt>
                <c:pt idx="27">
                  <c:v>50973</c:v>
                </c:pt>
                <c:pt idx="28">
                  <c:v>52810</c:v>
                </c:pt>
                <c:pt idx="29">
                  <c:v>58960</c:v>
                </c:pt>
                <c:pt idx="30">
                  <c:v>65326</c:v>
                </c:pt>
                <c:pt idx="31">
                  <c:v>70823</c:v>
                </c:pt>
                <c:pt idx="32">
                  <c:v>75467</c:v>
                </c:pt>
                <c:pt idx="33">
                  <c:v>79808</c:v>
                </c:pt>
                <c:pt idx="34">
                  <c:v>80438</c:v>
                </c:pt>
                <c:pt idx="35">
                  <c:v>81097</c:v>
                </c:pt>
                <c:pt idx="36">
                  <c:v>84041</c:v>
                </c:pt>
                <c:pt idx="37">
                  <c:v>87369</c:v>
                </c:pt>
                <c:pt idx="38">
                  <c:v>90967</c:v>
                </c:pt>
                <c:pt idx="39">
                  <c:v>95745</c:v>
                </c:pt>
                <c:pt idx="40">
                  <c:v>100490</c:v>
                </c:pt>
                <c:pt idx="41">
                  <c:v>102270</c:v>
                </c:pt>
                <c:pt idx="42">
                  <c:v>104377</c:v>
                </c:pt>
                <c:pt idx="43">
                  <c:v>110452</c:v>
                </c:pt>
                <c:pt idx="44">
                  <c:v>118051</c:v>
                </c:pt>
                <c:pt idx="45">
                  <c:v>126789</c:v>
                </c:pt>
                <c:pt idx="46">
                  <c:v>138010</c:v>
                </c:pt>
                <c:pt idx="47">
                  <c:v>149401</c:v>
                </c:pt>
                <c:pt idx="48">
                  <c:v>152316</c:v>
                </c:pt>
                <c:pt idx="49">
                  <c:v>154111</c:v>
                </c:pt>
                <c:pt idx="50">
                  <c:v>163011</c:v>
                </c:pt>
                <c:pt idx="51">
                  <c:v>173598</c:v>
                </c:pt>
                <c:pt idx="52">
                  <c:v>183765</c:v>
                </c:pt>
                <c:pt idx="53">
                  <c:v>195530</c:v>
                </c:pt>
                <c:pt idx="54">
                  <c:v>206691</c:v>
                </c:pt>
                <c:pt idx="55">
                  <c:v>208905</c:v>
                </c:pt>
                <c:pt idx="56">
                  <c:v>210577</c:v>
                </c:pt>
                <c:pt idx="57">
                  <c:v>220578</c:v>
                </c:pt>
                <c:pt idx="58">
                  <c:v>232542</c:v>
                </c:pt>
                <c:pt idx="59">
                  <c:v>243723</c:v>
                </c:pt>
                <c:pt idx="60">
                  <c:v>257054</c:v>
                </c:pt>
                <c:pt idx="61">
                  <c:v>268435</c:v>
                </c:pt>
                <c:pt idx="62">
                  <c:v>270670</c:v>
                </c:pt>
                <c:pt idx="63">
                  <c:v>272326</c:v>
                </c:pt>
                <c:pt idx="64">
                  <c:v>282280</c:v>
                </c:pt>
                <c:pt idx="65">
                  <c:v>292151</c:v>
                </c:pt>
                <c:pt idx="66">
                  <c:v>302504</c:v>
                </c:pt>
                <c:pt idx="67">
                  <c:v>313291</c:v>
                </c:pt>
                <c:pt idx="68">
                  <c:v>322114</c:v>
                </c:pt>
                <c:pt idx="69">
                  <c:v>324645</c:v>
                </c:pt>
                <c:pt idx="70">
                  <c:v>326881</c:v>
                </c:pt>
                <c:pt idx="71">
                  <c:v>334694</c:v>
                </c:pt>
                <c:pt idx="72">
                  <c:v>344180</c:v>
                </c:pt>
                <c:pt idx="73">
                  <c:v>354378</c:v>
                </c:pt>
                <c:pt idx="74">
                  <c:v>365064</c:v>
                </c:pt>
                <c:pt idx="75">
                  <c:v>373592</c:v>
                </c:pt>
                <c:pt idx="76">
                  <c:v>375982</c:v>
                </c:pt>
                <c:pt idx="77">
                  <c:v>377635</c:v>
                </c:pt>
                <c:pt idx="78">
                  <c:v>385211</c:v>
                </c:pt>
                <c:pt idx="79">
                  <c:v>395306</c:v>
                </c:pt>
                <c:pt idx="80">
                  <c:v>404891</c:v>
                </c:pt>
                <c:pt idx="81">
                  <c:v>416340</c:v>
                </c:pt>
                <c:pt idx="82">
                  <c:v>427287</c:v>
                </c:pt>
                <c:pt idx="83">
                  <c:v>429680</c:v>
                </c:pt>
                <c:pt idx="84">
                  <c:v>431296</c:v>
                </c:pt>
                <c:pt idx="85">
                  <c:v>439066</c:v>
                </c:pt>
                <c:pt idx="86">
                  <c:v>446976</c:v>
                </c:pt>
                <c:pt idx="87">
                  <c:v>454962</c:v>
                </c:pt>
                <c:pt idx="88">
                  <c:v>464712</c:v>
                </c:pt>
                <c:pt idx="89">
                  <c:v>472463</c:v>
                </c:pt>
                <c:pt idx="90">
                  <c:v>474337</c:v>
                </c:pt>
                <c:pt idx="91">
                  <c:v>475675</c:v>
                </c:pt>
                <c:pt idx="92">
                  <c:v>482200</c:v>
                </c:pt>
                <c:pt idx="93">
                  <c:v>488586</c:v>
                </c:pt>
                <c:pt idx="94">
                  <c:v>495556</c:v>
                </c:pt>
                <c:pt idx="95">
                  <c:v>502804</c:v>
                </c:pt>
                <c:pt idx="96">
                  <c:v>504855</c:v>
                </c:pt>
                <c:pt idx="97">
                  <c:v>506345</c:v>
                </c:pt>
                <c:pt idx="98">
                  <c:v>507678</c:v>
                </c:pt>
                <c:pt idx="99">
                  <c:v>508581</c:v>
                </c:pt>
                <c:pt idx="100">
                  <c:v>513004</c:v>
                </c:pt>
                <c:pt idx="101">
                  <c:v>517470</c:v>
                </c:pt>
                <c:pt idx="102">
                  <c:v>523702</c:v>
                </c:pt>
                <c:pt idx="103">
                  <c:v>528808</c:v>
                </c:pt>
                <c:pt idx="104">
                  <c:v>530618</c:v>
                </c:pt>
                <c:pt idx="105">
                  <c:v>531687</c:v>
                </c:pt>
                <c:pt idx="106">
                  <c:v>535164</c:v>
                </c:pt>
                <c:pt idx="107">
                  <c:v>538810</c:v>
                </c:pt>
                <c:pt idx="108">
                  <c:v>542275</c:v>
                </c:pt>
                <c:pt idx="109">
                  <c:v>546367</c:v>
                </c:pt>
                <c:pt idx="110">
                  <c:v>549718</c:v>
                </c:pt>
                <c:pt idx="111">
                  <c:v>550436</c:v>
                </c:pt>
                <c:pt idx="112">
                  <c:v>550976</c:v>
                </c:pt>
                <c:pt idx="113">
                  <c:v>553313</c:v>
                </c:pt>
                <c:pt idx="114">
                  <c:v>555762</c:v>
                </c:pt>
                <c:pt idx="115">
                  <c:v>558069</c:v>
                </c:pt>
                <c:pt idx="116">
                  <c:v>560697</c:v>
                </c:pt>
                <c:pt idx="117">
                  <c:v>562575</c:v>
                </c:pt>
                <c:pt idx="118">
                  <c:v>563152</c:v>
                </c:pt>
                <c:pt idx="119">
                  <c:v>563499</c:v>
                </c:pt>
                <c:pt idx="120">
                  <c:v>565018</c:v>
                </c:pt>
                <c:pt idx="121">
                  <c:v>566720</c:v>
                </c:pt>
                <c:pt idx="122">
                  <c:v>568687</c:v>
                </c:pt>
                <c:pt idx="123">
                  <c:v>571036</c:v>
                </c:pt>
                <c:pt idx="124">
                  <c:v>572491</c:v>
                </c:pt>
                <c:pt idx="125">
                  <c:v>572854</c:v>
                </c:pt>
                <c:pt idx="126">
                  <c:v>573208</c:v>
                </c:pt>
                <c:pt idx="127">
                  <c:v>574389</c:v>
                </c:pt>
                <c:pt idx="128">
                  <c:v>576171</c:v>
                </c:pt>
                <c:pt idx="129">
                  <c:v>578071</c:v>
                </c:pt>
                <c:pt idx="130">
                  <c:v>580404</c:v>
                </c:pt>
                <c:pt idx="131">
                  <c:v>582248</c:v>
                </c:pt>
                <c:pt idx="132">
                  <c:v>582626</c:v>
                </c:pt>
                <c:pt idx="133">
                  <c:v>582993</c:v>
                </c:pt>
                <c:pt idx="134">
                  <c:v>584991</c:v>
                </c:pt>
                <c:pt idx="135">
                  <c:v>587647</c:v>
                </c:pt>
                <c:pt idx="136">
                  <c:v>590300</c:v>
                </c:pt>
                <c:pt idx="137">
                  <c:v>592957</c:v>
                </c:pt>
                <c:pt idx="138">
                  <c:v>595033</c:v>
                </c:pt>
                <c:pt idx="139">
                  <c:v>595805</c:v>
                </c:pt>
                <c:pt idx="140">
                  <c:v>596438</c:v>
                </c:pt>
                <c:pt idx="141">
                  <c:v>598189</c:v>
                </c:pt>
                <c:pt idx="142">
                  <c:v>600716</c:v>
                </c:pt>
                <c:pt idx="143">
                  <c:v>603904</c:v>
                </c:pt>
                <c:pt idx="144">
                  <c:v>607599</c:v>
                </c:pt>
                <c:pt idx="145">
                  <c:v>610199</c:v>
                </c:pt>
                <c:pt idx="146">
                  <c:v>610879</c:v>
                </c:pt>
                <c:pt idx="147">
                  <c:v>611357</c:v>
                </c:pt>
                <c:pt idx="148">
                  <c:v>614281</c:v>
                </c:pt>
                <c:pt idx="149">
                  <c:v>617862</c:v>
                </c:pt>
                <c:pt idx="150">
                  <c:v>621315</c:v>
                </c:pt>
                <c:pt idx="151">
                  <c:v>624799</c:v>
                </c:pt>
                <c:pt idx="152">
                  <c:v>627512</c:v>
                </c:pt>
                <c:pt idx="153">
                  <c:v>628018</c:v>
                </c:pt>
                <c:pt idx="154">
                  <c:v>628509</c:v>
                </c:pt>
                <c:pt idx="155">
                  <c:v>630650</c:v>
                </c:pt>
                <c:pt idx="156">
                  <c:v>633642</c:v>
                </c:pt>
                <c:pt idx="157">
                  <c:v>637336</c:v>
                </c:pt>
                <c:pt idx="158">
                  <c:v>641030</c:v>
                </c:pt>
                <c:pt idx="159">
                  <c:v>643735</c:v>
                </c:pt>
                <c:pt idx="160">
                  <c:v>644353</c:v>
                </c:pt>
                <c:pt idx="161">
                  <c:v>644686</c:v>
                </c:pt>
                <c:pt idx="162">
                  <c:v>647021</c:v>
                </c:pt>
                <c:pt idx="163">
                  <c:v>649851</c:v>
                </c:pt>
                <c:pt idx="164">
                  <c:v>652593</c:v>
                </c:pt>
                <c:pt idx="165">
                  <c:v>655514</c:v>
                </c:pt>
                <c:pt idx="166">
                  <c:v>657695</c:v>
                </c:pt>
                <c:pt idx="167">
                  <c:v>658217</c:v>
                </c:pt>
                <c:pt idx="168">
                  <c:v>658523</c:v>
                </c:pt>
                <c:pt idx="169">
                  <c:v>660478</c:v>
                </c:pt>
                <c:pt idx="170">
                  <c:v>662714</c:v>
                </c:pt>
                <c:pt idx="171">
                  <c:v>664867</c:v>
                </c:pt>
                <c:pt idx="172">
                  <c:v>667197</c:v>
                </c:pt>
                <c:pt idx="173">
                  <c:v>668873</c:v>
                </c:pt>
                <c:pt idx="174">
                  <c:v>669309</c:v>
                </c:pt>
                <c:pt idx="175">
                  <c:v>669559</c:v>
                </c:pt>
                <c:pt idx="176">
                  <c:v>671196</c:v>
                </c:pt>
                <c:pt idx="177">
                  <c:v>673317</c:v>
                </c:pt>
                <c:pt idx="178">
                  <c:v>675449</c:v>
                </c:pt>
                <c:pt idx="179">
                  <c:v>677429</c:v>
                </c:pt>
                <c:pt idx="180">
                  <c:v>678938</c:v>
                </c:pt>
                <c:pt idx="181">
                  <c:v>679406</c:v>
                </c:pt>
                <c:pt idx="182">
                  <c:v>679669</c:v>
                </c:pt>
                <c:pt idx="183">
                  <c:v>681157</c:v>
                </c:pt>
                <c:pt idx="184">
                  <c:v>683200</c:v>
                </c:pt>
                <c:pt idx="185">
                  <c:v>685149</c:v>
                </c:pt>
                <c:pt idx="186">
                  <c:v>687143</c:v>
                </c:pt>
                <c:pt idx="187">
                  <c:v>688545</c:v>
                </c:pt>
                <c:pt idx="188">
                  <c:v>688811</c:v>
                </c:pt>
                <c:pt idx="189">
                  <c:v>688956</c:v>
                </c:pt>
                <c:pt idx="190">
                  <c:v>689105</c:v>
                </c:pt>
                <c:pt idx="191">
                  <c:v>689295</c:v>
                </c:pt>
                <c:pt idx="192">
                  <c:v>690664</c:v>
                </c:pt>
                <c:pt idx="193">
                  <c:v>691954</c:v>
                </c:pt>
                <c:pt idx="194">
                  <c:v>692979</c:v>
                </c:pt>
                <c:pt idx="195">
                  <c:v>693163</c:v>
                </c:pt>
                <c:pt idx="196">
                  <c:v>6933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38-475B-B3D5-6E0B100F1F34}"/>
            </c:ext>
          </c:extLst>
        </c:ser>
        <c:ser>
          <c:idx val="8"/>
          <c:order val="8"/>
          <c:tx>
            <c:strRef>
              <c:f>List1!$A$10</c:f>
              <c:strCache>
                <c:ptCount val="1"/>
                <c:pt idx="0">
                  <c:v>&lt;30</c:v>
                </c:pt>
              </c:strCache>
            </c:strRef>
          </c:tx>
          <c:spPr>
            <a:ln w="28575" cap="rnd">
              <a:solidFill>
                <a:srgbClr val="FFFFFF">
                  <a:lumMod val="75000"/>
                </a:srgbClr>
              </a:solidFill>
              <a:round/>
            </a:ln>
            <a:effectLst/>
          </c:spPr>
          <c:marker>
            <c:symbol val="none"/>
          </c:marker>
          <c:cat>
            <c:strRef>
              <c:f>List1!$B$1:$GP$1</c:f>
              <c:strCache>
                <c:ptCount val="197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  <c:pt idx="176">
                  <c:v>21-VI.</c:v>
                </c:pt>
                <c:pt idx="177">
                  <c:v>22-VI.</c:v>
                </c:pt>
                <c:pt idx="178">
                  <c:v>23-VI.</c:v>
                </c:pt>
                <c:pt idx="179">
                  <c:v>24-VI.</c:v>
                </c:pt>
                <c:pt idx="180">
                  <c:v>25-VI.</c:v>
                </c:pt>
                <c:pt idx="181">
                  <c:v>26-VI.</c:v>
                </c:pt>
                <c:pt idx="182">
                  <c:v>27-VI.</c:v>
                </c:pt>
                <c:pt idx="183">
                  <c:v>28-VI.</c:v>
                </c:pt>
                <c:pt idx="184">
                  <c:v>29-VI.</c:v>
                </c:pt>
                <c:pt idx="185">
                  <c:v>30-VI.</c:v>
                </c:pt>
                <c:pt idx="186">
                  <c:v>1-VII.</c:v>
                </c:pt>
                <c:pt idx="187">
                  <c:v>2-VII.</c:v>
                </c:pt>
                <c:pt idx="188">
                  <c:v>3-VII.</c:v>
                </c:pt>
                <c:pt idx="189">
                  <c:v>4-VII.</c:v>
                </c:pt>
                <c:pt idx="190">
                  <c:v>5-VII.</c:v>
                </c:pt>
                <c:pt idx="191">
                  <c:v>6-VII.</c:v>
                </c:pt>
                <c:pt idx="192">
                  <c:v>7-VII.</c:v>
                </c:pt>
                <c:pt idx="193">
                  <c:v>8-VII.</c:v>
                </c:pt>
                <c:pt idx="194">
                  <c:v>9-VII.</c:v>
                </c:pt>
                <c:pt idx="195">
                  <c:v>10-VII.</c:v>
                </c:pt>
                <c:pt idx="196">
                  <c:v>11-VII.</c:v>
                </c:pt>
              </c:strCache>
            </c:strRef>
          </c:cat>
          <c:val>
            <c:numRef>
              <c:f>List1!$B$10:$GP$10</c:f>
              <c:numCache>
                <c:formatCode>General</c:formatCode>
                <c:ptCount val="197"/>
                <c:pt idx="0">
                  <c:v>160</c:v>
                </c:pt>
                <c:pt idx="1">
                  <c:v>428</c:v>
                </c:pt>
                <c:pt idx="2">
                  <c:v>836</c:v>
                </c:pt>
                <c:pt idx="3">
                  <c:v>1256</c:v>
                </c:pt>
                <c:pt idx="4">
                  <c:v>1408</c:v>
                </c:pt>
                <c:pt idx="5">
                  <c:v>1429</c:v>
                </c:pt>
                <c:pt idx="6">
                  <c:v>1584</c:v>
                </c:pt>
                <c:pt idx="7">
                  <c:v>1686</c:v>
                </c:pt>
                <c:pt idx="8">
                  <c:v>2046</c:v>
                </c:pt>
                <c:pt idx="9">
                  <c:v>2534</c:v>
                </c:pt>
                <c:pt idx="10">
                  <c:v>3165</c:v>
                </c:pt>
                <c:pt idx="11">
                  <c:v>4023</c:v>
                </c:pt>
                <c:pt idx="12">
                  <c:v>5001</c:v>
                </c:pt>
                <c:pt idx="13">
                  <c:v>5153</c:v>
                </c:pt>
                <c:pt idx="14">
                  <c:v>5304</c:v>
                </c:pt>
                <c:pt idx="15">
                  <c:v>6357</c:v>
                </c:pt>
                <c:pt idx="16">
                  <c:v>7499</c:v>
                </c:pt>
                <c:pt idx="17">
                  <c:v>8529</c:v>
                </c:pt>
                <c:pt idx="18">
                  <c:v>9642</c:v>
                </c:pt>
                <c:pt idx="19">
                  <c:v>10642</c:v>
                </c:pt>
                <c:pt idx="20">
                  <c:v>10780</c:v>
                </c:pt>
                <c:pt idx="21">
                  <c:v>10970</c:v>
                </c:pt>
                <c:pt idx="22">
                  <c:v>11762</c:v>
                </c:pt>
                <c:pt idx="23">
                  <c:v>12509</c:v>
                </c:pt>
                <c:pt idx="24">
                  <c:v>13299</c:v>
                </c:pt>
                <c:pt idx="25">
                  <c:v>14025</c:v>
                </c:pt>
                <c:pt idx="26">
                  <c:v>14597</c:v>
                </c:pt>
                <c:pt idx="27">
                  <c:v>14750</c:v>
                </c:pt>
                <c:pt idx="28">
                  <c:v>14875</c:v>
                </c:pt>
                <c:pt idx="29">
                  <c:v>15525</c:v>
                </c:pt>
                <c:pt idx="30">
                  <c:v>16336</c:v>
                </c:pt>
                <c:pt idx="31">
                  <c:v>17128</c:v>
                </c:pt>
                <c:pt idx="32">
                  <c:v>18016</c:v>
                </c:pt>
                <c:pt idx="33">
                  <c:v>18952</c:v>
                </c:pt>
                <c:pt idx="34">
                  <c:v>19053</c:v>
                </c:pt>
                <c:pt idx="35">
                  <c:v>19169</c:v>
                </c:pt>
                <c:pt idx="36">
                  <c:v>20133</c:v>
                </c:pt>
                <c:pt idx="37">
                  <c:v>21218</c:v>
                </c:pt>
                <c:pt idx="38">
                  <c:v>22243</c:v>
                </c:pt>
                <c:pt idx="39">
                  <c:v>23430</c:v>
                </c:pt>
                <c:pt idx="40">
                  <c:v>24439</c:v>
                </c:pt>
                <c:pt idx="41">
                  <c:v>24558</c:v>
                </c:pt>
                <c:pt idx="42">
                  <c:v>24698</c:v>
                </c:pt>
                <c:pt idx="43">
                  <c:v>25531</c:v>
                </c:pt>
                <c:pt idx="44">
                  <c:v>26245</c:v>
                </c:pt>
                <c:pt idx="45">
                  <c:v>26945</c:v>
                </c:pt>
                <c:pt idx="46">
                  <c:v>27757</c:v>
                </c:pt>
                <c:pt idx="47">
                  <c:v>28539</c:v>
                </c:pt>
                <c:pt idx="48">
                  <c:v>28682</c:v>
                </c:pt>
                <c:pt idx="49">
                  <c:v>28718</c:v>
                </c:pt>
                <c:pt idx="50">
                  <c:v>29324</c:v>
                </c:pt>
                <c:pt idx="51">
                  <c:v>30013</c:v>
                </c:pt>
                <c:pt idx="52">
                  <c:v>30698</c:v>
                </c:pt>
                <c:pt idx="53">
                  <c:v>31317</c:v>
                </c:pt>
                <c:pt idx="54">
                  <c:v>32028</c:v>
                </c:pt>
                <c:pt idx="55">
                  <c:v>32117</c:v>
                </c:pt>
                <c:pt idx="56">
                  <c:v>32140</c:v>
                </c:pt>
                <c:pt idx="57">
                  <c:v>32749</c:v>
                </c:pt>
                <c:pt idx="58">
                  <c:v>33464</c:v>
                </c:pt>
                <c:pt idx="59">
                  <c:v>34221</c:v>
                </c:pt>
                <c:pt idx="60">
                  <c:v>35095</c:v>
                </c:pt>
                <c:pt idx="61">
                  <c:v>36010</c:v>
                </c:pt>
                <c:pt idx="62">
                  <c:v>36152</c:v>
                </c:pt>
                <c:pt idx="63">
                  <c:v>36252</c:v>
                </c:pt>
                <c:pt idx="64">
                  <c:v>37019</c:v>
                </c:pt>
                <c:pt idx="65">
                  <c:v>37954</c:v>
                </c:pt>
                <c:pt idx="66">
                  <c:v>39012</c:v>
                </c:pt>
                <c:pt idx="67">
                  <c:v>39870</c:v>
                </c:pt>
                <c:pt idx="68">
                  <c:v>40822</c:v>
                </c:pt>
                <c:pt idx="69">
                  <c:v>41176</c:v>
                </c:pt>
                <c:pt idx="70">
                  <c:v>41558</c:v>
                </c:pt>
                <c:pt idx="71">
                  <c:v>42435</c:v>
                </c:pt>
                <c:pt idx="72">
                  <c:v>43573</c:v>
                </c:pt>
                <c:pt idx="73">
                  <c:v>44957</c:v>
                </c:pt>
                <c:pt idx="74">
                  <c:v>46515</c:v>
                </c:pt>
                <c:pt idx="75">
                  <c:v>47983</c:v>
                </c:pt>
                <c:pt idx="76">
                  <c:v>48420</c:v>
                </c:pt>
                <c:pt idx="77">
                  <c:v>48787</c:v>
                </c:pt>
                <c:pt idx="78">
                  <c:v>50050</c:v>
                </c:pt>
                <c:pt idx="79">
                  <c:v>51469</c:v>
                </c:pt>
                <c:pt idx="80">
                  <c:v>52848</c:v>
                </c:pt>
                <c:pt idx="81">
                  <c:v>54160</c:v>
                </c:pt>
                <c:pt idx="82">
                  <c:v>55802</c:v>
                </c:pt>
                <c:pt idx="83">
                  <c:v>56368</c:v>
                </c:pt>
                <c:pt idx="84">
                  <c:v>56651</c:v>
                </c:pt>
                <c:pt idx="85">
                  <c:v>57645</c:v>
                </c:pt>
                <c:pt idx="86">
                  <c:v>58855</c:v>
                </c:pt>
                <c:pt idx="87">
                  <c:v>60085</c:v>
                </c:pt>
                <c:pt idx="88">
                  <c:v>61371</c:v>
                </c:pt>
                <c:pt idx="89">
                  <c:v>62967</c:v>
                </c:pt>
                <c:pt idx="90">
                  <c:v>63330</c:v>
                </c:pt>
                <c:pt idx="91">
                  <c:v>63615</c:v>
                </c:pt>
                <c:pt idx="92">
                  <c:v>64691</c:v>
                </c:pt>
                <c:pt idx="93">
                  <c:v>66141</c:v>
                </c:pt>
                <c:pt idx="94">
                  <c:v>67797</c:v>
                </c:pt>
                <c:pt idx="95">
                  <c:v>69648</c:v>
                </c:pt>
                <c:pt idx="96">
                  <c:v>70206</c:v>
                </c:pt>
                <c:pt idx="97">
                  <c:v>70700</c:v>
                </c:pt>
                <c:pt idx="98">
                  <c:v>70999</c:v>
                </c:pt>
                <c:pt idx="99">
                  <c:v>71282</c:v>
                </c:pt>
                <c:pt idx="100">
                  <c:v>72899</c:v>
                </c:pt>
                <c:pt idx="101">
                  <c:v>74180</c:v>
                </c:pt>
                <c:pt idx="102">
                  <c:v>76116</c:v>
                </c:pt>
                <c:pt idx="103">
                  <c:v>78614</c:v>
                </c:pt>
                <c:pt idx="104">
                  <c:v>79456</c:v>
                </c:pt>
                <c:pt idx="105">
                  <c:v>80057</c:v>
                </c:pt>
                <c:pt idx="106">
                  <c:v>81524</c:v>
                </c:pt>
                <c:pt idx="107">
                  <c:v>83034</c:v>
                </c:pt>
                <c:pt idx="108">
                  <c:v>84525</c:v>
                </c:pt>
                <c:pt idx="109">
                  <c:v>86507</c:v>
                </c:pt>
                <c:pt idx="110">
                  <c:v>88812</c:v>
                </c:pt>
                <c:pt idx="111">
                  <c:v>89705</c:v>
                </c:pt>
                <c:pt idx="112">
                  <c:v>90445</c:v>
                </c:pt>
                <c:pt idx="113">
                  <c:v>92245</c:v>
                </c:pt>
                <c:pt idx="114">
                  <c:v>93892</c:v>
                </c:pt>
                <c:pt idx="115">
                  <c:v>95632</c:v>
                </c:pt>
                <c:pt idx="116">
                  <c:v>97793</c:v>
                </c:pt>
                <c:pt idx="117">
                  <c:v>100362</c:v>
                </c:pt>
                <c:pt idx="118">
                  <c:v>101366</c:v>
                </c:pt>
                <c:pt idx="119">
                  <c:v>101964</c:v>
                </c:pt>
                <c:pt idx="120">
                  <c:v>103396</c:v>
                </c:pt>
                <c:pt idx="121">
                  <c:v>104728</c:v>
                </c:pt>
                <c:pt idx="122">
                  <c:v>106332</c:v>
                </c:pt>
                <c:pt idx="123">
                  <c:v>107998</c:v>
                </c:pt>
                <c:pt idx="124">
                  <c:v>110004</c:v>
                </c:pt>
                <c:pt idx="125">
                  <c:v>110488</c:v>
                </c:pt>
                <c:pt idx="126">
                  <c:v>110982</c:v>
                </c:pt>
                <c:pt idx="127">
                  <c:v>112280</c:v>
                </c:pt>
                <c:pt idx="128">
                  <c:v>113688</c:v>
                </c:pt>
                <c:pt idx="129">
                  <c:v>115345</c:v>
                </c:pt>
                <c:pt idx="130">
                  <c:v>117137</c:v>
                </c:pt>
                <c:pt idx="131">
                  <c:v>119481</c:v>
                </c:pt>
                <c:pt idx="132">
                  <c:v>120293</c:v>
                </c:pt>
                <c:pt idx="133">
                  <c:v>120931</c:v>
                </c:pt>
                <c:pt idx="134">
                  <c:v>122596</c:v>
                </c:pt>
                <c:pt idx="135">
                  <c:v>124372</c:v>
                </c:pt>
                <c:pt idx="136">
                  <c:v>126152</c:v>
                </c:pt>
                <c:pt idx="137">
                  <c:v>128241</c:v>
                </c:pt>
                <c:pt idx="138">
                  <c:v>130233</c:v>
                </c:pt>
                <c:pt idx="139">
                  <c:v>131296</c:v>
                </c:pt>
                <c:pt idx="140">
                  <c:v>131912</c:v>
                </c:pt>
                <c:pt idx="141">
                  <c:v>133423</c:v>
                </c:pt>
                <c:pt idx="142">
                  <c:v>135216</c:v>
                </c:pt>
                <c:pt idx="143">
                  <c:v>137017</c:v>
                </c:pt>
                <c:pt idx="144">
                  <c:v>139410</c:v>
                </c:pt>
                <c:pt idx="145">
                  <c:v>142041</c:v>
                </c:pt>
                <c:pt idx="146">
                  <c:v>143029</c:v>
                </c:pt>
                <c:pt idx="147">
                  <c:v>143802</c:v>
                </c:pt>
                <c:pt idx="148">
                  <c:v>145691</c:v>
                </c:pt>
                <c:pt idx="149">
                  <c:v>147734</c:v>
                </c:pt>
                <c:pt idx="150">
                  <c:v>150316</c:v>
                </c:pt>
                <c:pt idx="151">
                  <c:v>153215</c:v>
                </c:pt>
                <c:pt idx="152">
                  <c:v>156602</c:v>
                </c:pt>
                <c:pt idx="153">
                  <c:v>157899</c:v>
                </c:pt>
                <c:pt idx="154">
                  <c:v>158939</c:v>
                </c:pt>
                <c:pt idx="155">
                  <c:v>161855</c:v>
                </c:pt>
                <c:pt idx="156">
                  <c:v>164975</c:v>
                </c:pt>
                <c:pt idx="157">
                  <c:v>168403</c:v>
                </c:pt>
                <c:pt idx="158">
                  <c:v>172108</c:v>
                </c:pt>
                <c:pt idx="159">
                  <c:v>178953</c:v>
                </c:pt>
                <c:pt idx="160">
                  <c:v>183150</c:v>
                </c:pt>
                <c:pt idx="161">
                  <c:v>187600</c:v>
                </c:pt>
                <c:pt idx="162">
                  <c:v>197955</c:v>
                </c:pt>
                <c:pt idx="163">
                  <c:v>211760</c:v>
                </c:pt>
                <c:pt idx="164">
                  <c:v>226365</c:v>
                </c:pt>
                <c:pt idx="165">
                  <c:v>242032</c:v>
                </c:pt>
                <c:pt idx="166">
                  <c:v>256797</c:v>
                </c:pt>
                <c:pt idx="167">
                  <c:v>266676</c:v>
                </c:pt>
                <c:pt idx="168">
                  <c:v>276362</c:v>
                </c:pt>
                <c:pt idx="169">
                  <c:v>292178</c:v>
                </c:pt>
                <c:pt idx="170">
                  <c:v>310875</c:v>
                </c:pt>
                <c:pt idx="171">
                  <c:v>330694</c:v>
                </c:pt>
                <c:pt idx="172">
                  <c:v>349728</c:v>
                </c:pt>
                <c:pt idx="173">
                  <c:v>370412</c:v>
                </c:pt>
                <c:pt idx="174">
                  <c:v>382420</c:v>
                </c:pt>
                <c:pt idx="175">
                  <c:v>393253</c:v>
                </c:pt>
                <c:pt idx="176">
                  <c:v>410926</c:v>
                </c:pt>
                <c:pt idx="177">
                  <c:v>428809</c:v>
                </c:pt>
                <c:pt idx="178">
                  <c:v>445097</c:v>
                </c:pt>
                <c:pt idx="179">
                  <c:v>460982</c:v>
                </c:pt>
                <c:pt idx="180">
                  <c:v>476875</c:v>
                </c:pt>
                <c:pt idx="181">
                  <c:v>486546</c:v>
                </c:pt>
                <c:pt idx="182">
                  <c:v>494923</c:v>
                </c:pt>
                <c:pt idx="183">
                  <c:v>511838</c:v>
                </c:pt>
                <c:pt idx="184">
                  <c:v>528479</c:v>
                </c:pt>
                <c:pt idx="185">
                  <c:v>544921</c:v>
                </c:pt>
                <c:pt idx="186">
                  <c:v>558879</c:v>
                </c:pt>
                <c:pt idx="187">
                  <c:v>574081</c:v>
                </c:pt>
                <c:pt idx="188">
                  <c:v>578415</c:v>
                </c:pt>
                <c:pt idx="189">
                  <c:v>582840</c:v>
                </c:pt>
                <c:pt idx="190">
                  <c:v>587282</c:v>
                </c:pt>
                <c:pt idx="191">
                  <c:v>590514</c:v>
                </c:pt>
                <c:pt idx="192">
                  <c:v>605598</c:v>
                </c:pt>
                <c:pt idx="193">
                  <c:v>620321</c:v>
                </c:pt>
                <c:pt idx="194">
                  <c:v>635776</c:v>
                </c:pt>
                <c:pt idx="195">
                  <c:v>640963</c:v>
                </c:pt>
                <c:pt idx="196">
                  <c:v>6458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87-472F-A228-842E61EA8DB2}"/>
            </c:ext>
          </c:extLst>
        </c:ser>
        <c:ser>
          <c:idx val="9"/>
          <c:order val="9"/>
          <c:tx>
            <c:strRef>
              <c:f>List1!$A$11</c:f>
              <c:strCache>
                <c:ptCount val="1"/>
                <c:pt idx="0">
                  <c:v>35–39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B$1:$GP$1</c:f>
              <c:strCache>
                <c:ptCount val="197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  <c:pt idx="176">
                  <c:v>21-VI.</c:v>
                </c:pt>
                <c:pt idx="177">
                  <c:v>22-VI.</c:v>
                </c:pt>
                <c:pt idx="178">
                  <c:v>23-VI.</c:v>
                </c:pt>
                <c:pt idx="179">
                  <c:v>24-VI.</c:v>
                </c:pt>
                <c:pt idx="180">
                  <c:v>25-VI.</c:v>
                </c:pt>
                <c:pt idx="181">
                  <c:v>26-VI.</c:v>
                </c:pt>
                <c:pt idx="182">
                  <c:v>27-VI.</c:v>
                </c:pt>
                <c:pt idx="183">
                  <c:v>28-VI.</c:v>
                </c:pt>
                <c:pt idx="184">
                  <c:v>29-VI.</c:v>
                </c:pt>
                <c:pt idx="185">
                  <c:v>30-VI.</c:v>
                </c:pt>
                <c:pt idx="186">
                  <c:v>1-VII.</c:v>
                </c:pt>
                <c:pt idx="187">
                  <c:v>2-VII.</c:v>
                </c:pt>
                <c:pt idx="188">
                  <c:v>3-VII.</c:v>
                </c:pt>
                <c:pt idx="189">
                  <c:v>4-VII.</c:v>
                </c:pt>
                <c:pt idx="190">
                  <c:v>5-VII.</c:v>
                </c:pt>
                <c:pt idx="191">
                  <c:v>6-VII.</c:v>
                </c:pt>
                <c:pt idx="192">
                  <c:v>7-VII.</c:v>
                </c:pt>
                <c:pt idx="193">
                  <c:v>8-VII.</c:v>
                </c:pt>
                <c:pt idx="194">
                  <c:v>9-VII.</c:v>
                </c:pt>
                <c:pt idx="195">
                  <c:v>10-VII.</c:v>
                </c:pt>
                <c:pt idx="196">
                  <c:v>11-VII.</c:v>
                </c:pt>
              </c:strCache>
            </c:strRef>
          </c:cat>
          <c:val>
            <c:numRef>
              <c:f>List1!$B$11:$GP$11</c:f>
              <c:numCache>
                <c:formatCode>General</c:formatCode>
                <c:ptCount val="197"/>
                <c:pt idx="0">
                  <c:v>94</c:v>
                </c:pt>
                <c:pt idx="1">
                  <c:v>259</c:v>
                </c:pt>
                <c:pt idx="2">
                  <c:v>515</c:v>
                </c:pt>
                <c:pt idx="3">
                  <c:v>763</c:v>
                </c:pt>
                <c:pt idx="4">
                  <c:v>854</c:v>
                </c:pt>
                <c:pt idx="5">
                  <c:v>874</c:v>
                </c:pt>
                <c:pt idx="6">
                  <c:v>974</c:v>
                </c:pt>
                <c:pt idx="7">
                  <c:v>1038</c:v>
                </c:pt>
                <c:pt idx="8">
                  <c:v>1320</c:v>
                </c:pt>
                <c:pt idx="9">
                  <c:v>1690</c:v>
                </c:pt>
                <c:pt idx="10">
                  <c:v>2121</c:v>
                </c:pt>
                <c:pt idx="11">
                  <c:v>2691</c:v>
                </c:pt>
                <c:pt idx="12">
                  <c:v>3364</c:v>
                </c:pt>
                <c:pt idx="13">
                  <c:v>3509</c:v>
                </c:pt>
                <c:pt idx="14">
                  <c:v>3623</c:v>
                </c:pt>
                <c:pt idx="15">
                  <c:v>4297</c:v>
                </c:pt>
                <c:pt idx="16">
                  <c:v>5188</c:v>
                </c:pt>
                <c:pt idx="17">
                  <c:v>6058</c:v>
                </c:pt>
                <c:pt idx="18">
                  <c:v>6919</c:v>
                </c:pt>
                <c:pt idx="19">
                  <c:v>7671</c:v>
                </c:pt>
                <c:pt idx="20">
                  <c:v>7767</c:v>
                </c:pt>
                <c:pt idx="21">
                  <c:v>7859</c:v>
                </c:pt>
                <c:pt idx="22">
                  <c:v>8475</c:v>
                </c:pt>
                <c:pt idx="23">
                  <c:v>9032</c:v>
                </c:pt>
                <c:pt idx="24">
                  <c:v>9627</c:v>
                </c:pt>
                <c:pt idx="25">
                  <c:v>10160</c:v>
                </c:pt>
                <c:pt idx="26">
                  <c:v>10588</c:v>
                </c:pt>
                <c:pt idx="27">
                  <c:v>10691</c:v>
                </c:pt>
                <c:pt idx="28">
                  <c:v>10765</c:v>
                </c:pt>
                <c:pt idx="29">
                  <c:v>11215</c:v>
                </c:pt>
                <c:pt idx="30">
                  <c:v>11765</c:v>
                </c:pt>
                <c:pt idx="31">
                  <c:v>12326</c:v>
                </c:pt>
                <c:pt idx="32">
                  <c:v>13014</c:v>
                </c:pt>
                <c:pt idx="33">
                  <c:v>13663</c:v>
                </c:pt>
                <c:pt idx="34">
                  <c:v>13732</c:v>
                </c:pt>
                <c:pt idx="35">
                  <c:v>13821</c:v>
                </c:pt>
                <c:pt idx="36">
                  <c:v>14436</c:v>
                </c:pt>
                <c:pt idx="37">
                  <c:v>15262</c:v>
                </c:pt>
                <c:pt idx="38">
                  <c:v>16095</c:v>
                </c:pt>
                <c:pt idx="39">
                  <c:v>17000</c:v>
                </c:pt>
                <c:pt idx="40">
                  <c:v>17739</c:v>
                </c:pt>
                <c:pt idx="41">
                  <c:v>17825</c:v>
                </c:pt>
                <c:pt idx="42">
                  <c:v>17893</c:v>
                </c:pt>
                <c:pt idx="43">
                  <c:v>18515</c:v>
                </c:pt>
                <c:pt idx="44">
                  <c:v>19076</c:v>
                </c:pt>
                <c:pt idx="45">
                  <c:v>19657</c:v>
                </c:pt>
                <c:pt idx="46">
                  <c:v>20328</c:v>
                </c:pt>
                <c:pt idx="47">
                  <c:v>20886</c:v>
                </c:pt>
                <c:pt idx="48">
                  <c:v>20956</c:v>
                </c:pt>
                <c:pt idx="49">
                  <c:v>20985</c:v>
                </c:pt>
                <c:pt idx="50">
                  <c:v>21398</c:v>
                </c:pt>
                <c:pt idx="51">
                  <c:v>21789</c:v>
                </c:pt>
                <c:pt idx="52">
                  <c:v>22218</c:v>
                </c:pt>
                <c:pt idx="53">
                  <c:v>22701</c:v>
                </c:pt>
                <c:pt idx="54">
                  <c:v>23173</c:v>
                </c:pt>
                <c:pt idx="55">
                  <c:v>23232</c:v>
                </c:pt>
                <c:pt idx="56">
                  <c:v>23250</c:v>
                </c:pt>
                <c:pt idx="57">
                  <c:v>23585</c:v>
                </c:pt>
                <c:pt idx="58">
                  <c:v>24110</c:v>
                </c:pt>
                <c:pt idx="59">
                  <c:v>24578</c:v>
                </c:pt>
                <c:pt idx="60">
                  <c:v>25221</c:v>
                </c:pt>
                <c:pt idx="61">
                  <c:v>25758</c:v>
                </c:pt>
                <c:pt idx="62">
                  <c:v>25822</c:v>
                </c:pt>
                <c:pt idx="63">
                  <c:v>25867</c:v>
                </c:pt>
                <c:pt idx="64">
                  <c:v>26525</c:v>
                </c:pt>
                <c:pt idx="65">
                  <c:v>27298</c:v>
                </c:pt>
                <c:pt idx="66">
                  <c:v>28155</c:v>
                </c:pt>
                <c:pt idx="67">
                  <c:v>28972</c:v>
                </c:pt>
                <c:pt idx="68">
                  <c:v>29719</c:v>
                </c:pt>
                <c:pt idx="69">
                  <c:v>30001</c:v>
                </c:pt>
                <c:pt idx="70">
                  <c:v>30279</c:v>
                </c:pt>
                <c:pt idx="71">
                  <c:v>31004</c:v>
                </c:pt>
                <c:pt idx="72">
                  <c:v>31844</c:v>
                </c:pt>
                <c:pt idx="73">
                  <c:v>32819</c:v>
                </c:pt>
                <c:pt idx="74">
                  <c:v>33895</c:v>
                </c:pt>
                <c:pt idx="75">
                  <c:v>34851</c:v>
                </c:pt>
                <c:pt idx="76">
                  <c:v>35147</c:v>
                </c:pt>
                <c:pt idx="77">
                  <c:v>35370</c:v>
                </c:pt>
                <c:pt idx="78">
                  <c:v>36049</c:v>
                </c:pt>
                <c:pt idx="79">
                  <c:v>37000</c:v>
                </c:pt>
                <c:pt idx="80">
                  <c:v>37884</c:v>
                </c:pt>
                <c:pt idx="81">
                  <c:v>38832</c:v>
                </c:pt>
                <c:pt idx="82">
                  <c:v>39905</c:v>
                </c:pt>
                <c:pt idx="83">
                  <c:v>40233</c:v>
                </c:pt>
                <c:pt idx="84">
                  <c:v>40366</c:v>
                </c:pt>
                <c:pt idx="85">
                  <c:v>41056</c:v>
                </c:pt>
                <c:pt idx="86">
                  <c:v>41868</c:v>
                </c:pt>
                <c:pt idx="87">
                  <c:v>42688</c:v>
                </c:pt>
                <c:pt idx="88">
                  <c:v>43566</c:v>
                </c:pt>
                <c:pt idx="89">
                  <c:v>44708</c:v>
                </c:pt>
                <c:pt idx="90">
                  <c:v>44982</c:v>
                </c:pt>
                <c:pt idx="91">
                  <c:v>45194</c:v>
                </c:pt>
                <c:pt idx="92">
                  <c:v>46076</c:v>
                </c:pt>
                <c:pt idx="93">
                  <c:v>47062</c:v>
                </c:pt>
                <c:pt idx="94">
                  <c:v>48165</c:v>
                </c:pt>
                <c:pt idx="95">
                  <c:v>49487</c:v>
                </c:pt>
                <c:pt idx="96">
                  <c:v>49900</c:v>
                </c:pt>
                <c:pt idx="97">
                  <c:v>50233</c:v>
                </c:pt>
                <c:pt idx="98">
                  <c:v>50454</c:v>
                </c:pt>
                <c:pt idx="99">
                  <c:v>50654</c:v>
                </c:pt>
                <c:pt idx="100">
                  <c:v>51624</c:v>
                </c:pt>
                <c:pt idx="101">
                  <c:v>52472</c:v>
                </c:pt>
                <c:pt idx="102">
                  <c:v>53878</c:v>
                </c:pt>
                <c:pt idx="103">
                  <c:v>55480</c:v>
                </c:pt>
                <c:pt idx="104">
                  <c:v>56322</c:v>
                </c:pt>
                <c:pt idx="105">
                  <c:v>56686</c:v>
                </c:pt>
                <c:pt idx="106">
                  <c:v>57800</c:v>
                </c:pt>
                <c:pt idx="107">
                  <c:v>58993</c:v>
                </c:pt>
                <c:pt idx="108">
                  <c:v>60139</c:v>
                </c:pt>
                <c:pt idx="109">
                  <c:v>61542</c:v>
                </c:pt>
                <c:pt idx="110">
                  <c:v>63498</c:v>
                </c:pt>
                <c:pt idx="111">
                  <c:v>64332</c:v>
                </c:pt>
                <c:pt idx="112">
                  <c:v>64942</c:v>
                </c:pt>
                <c:pt idx="113">
                  <c:v>66318</c:v>
                </c:pt>
                <c:pt idx="114">
                  <c:v>67593</c:v>
                </c:pt>
                <c:pt idx="115">
                  <c:v>68903</c:v>
                </c:pt>
                <c:pt idx="116">
                  <c:v>70357</c:v>
                </c:pt>
                <c:pt idx="117">
                  <c:v>72240</c:v>
                </c:pt>
                <c:pt idx="118">
                  <c:v>72733</c:v>
                </c:pt>
                <c:pt idx="119">
                  <c:v>73104</c:v>
                </c:pt>
                <c:pt idx="120">
                  <c:v>74103</c:v>
                </c:pt>
                <c:pt idx="121">
                  <c:v>75030</c:v>
                </c:pt>
                <c:pt idx="122">
                  <c:v>76129</c:v>
                </c:pt>
                <c:pt idx="123">
                  <c:v>77485</c:v>
                </c:pt>
                <c:pt idx="124">
                  <c:v>78894</c:v>
                </c:pt>
                <c:pt idx="125">
                  <c:v>79260</c:v>
                </c:pt>
                <c:pt idx="126">
                  <c:v>79580</c:v>
                </c:pt>
                <c:pt idx="127">
                  <c:v>80546</c:v>
                </c:pt>
                <c:pt idx="128">
                  <c:v>81636</c:v>
                </c:pt>
                <c:pt idx="129">
                  <c:v>82919</c:v>
                </c:pt>
                <c:pt idx="130">
                  <c:v>84382</c:v>
                </c:pt>
                <c:pt idx="131">
                  <c:v>86078</c:v>
                </c:pt>
                <c:pt idx="132">
                  <c:v>86689</c:v>
                </c:pt>
                <c:pt idx="133">
                  <c:v>87120</c:v>
                </c:pt>
                <c:pt idx="134">
                  <c:v>88524</c:v>
                </c:pt>
                <c:pt idx="135">
                  <c:v>89873</c:v>
                </c:pt>
                <c:pt idx="136">
                  <c:v>91085</c:v>
                </c:pt>
                <c:pt idx="137">
                  <c:v>92471</c:v>
                </c:pt>
                <c:pt idx="138">
                  <c:v>93801</c:v>
                </c:pt>
                <c:pt idx="139">
                  <c:v>94354</c:v>
                </c:pt>
                <c:pt idx="140">
                  <c:v>94709</c:v>
                </c:pt>
                <c:pt idx="141">
                  <c:v>95733</c:v>
                </c:pt>
                <c:pt idx="142">
                  <c:v>96913</c:v>
                </c:pt>
                <c:pt idx="143">
                  <c:v>98191</c:v>
                </c:pt>
                <c:pt idx="144">
                  <c:v>99680</c:v>
                </c:pt>
                <c:pt idx="145">
                  <c:v>101428</c:v>
                </c:pt>
                <c:pt idx="146">
                  <c:v>102036</c:v>
                </c:pt>
                <c:pt idx="147">
                  <c:v>102480</c:v>
                </c:pt>
                <c:pt idx="148">
                  <c:v>104459</c:v>
                </c:pt>
                <c:pt idx="149">
                  <c:v>109000</c:v>
                </c:pt>
                <c:pt idx="150">
                  <c:v>116385</c:v>
                </c:pt>
                <c:pt idx="151">
                  <c:v>124872</c:v>
                </c:pt>
                <c:pt idx="152">
                  <c:v>133499</c:v>
                </c:pt>
                <c:pt idx="153">
                  <c:v>137053</c:v>
                </c:pt>
                <c:pt idx="154">
                  <c:v>139263</c:v>
                </c:pt>
                <c:pt idx="155">
                  <c:v>148739</c:v>
                </c:pt>
                <c:pt idx="156">
                  <c:v>159030</c:v>
                </c:pt>
                <c:pt idx="157">
                  <c:v>171329</c:v>
                </c:pt>
                <c:pt idx="158">
                  <c:v>183730</c:v>
                </c:pt>
                <c:pt idx="159">
                  <c:v>196248</c:v>
                </c:pt>
                <c:pt idx="160">
                  <c:v>204064</c:v>
                </c:pt>
                <c:pt idx="161">
                  <c:v>209175</c:v>
                </c:pt>
                <c:pt idx="162">
                  <c:v>221579</c:v>
                </c:pt>
                <c:pt idx="163">
                  <c:v>230801</c:v>
                </c:pt>
                <c:pt idx="164">
                  <c:v>238340</c:v>
                </c:pt>
                <c:pt idx="165">
                  <c:v>245038</c:v>
                </c:pt>
                <c:pt idx="166">
                  <c:v>252784</c:v>
                </c:pt>
                <c:pt idx="167">
                  <c:v>257082</c:v>
                </c:pt>
                <c:pt idx="168">
                  <c:v>260573</c:v>
                </c:pt>
                <c:pt idx="169">
                  <c:v>266555</c:v>
                </c:pt>
                <c:pt idx="170">
                  <c:v>272102</c:v>
                </c:pt>
                <c:pt idx="171">
                  <c:v>277091</c:v>
                </c:pt>
                <c:pt idx="172">
                  <c:v>282124</c:v>
                </c:pt>
                <c:pt idx="173">
                  <c:v>287386</c:v>
                </c:pt>
                <c:pt idx="174">
                  <c:v>290006</c:v>
                </c:pt>
                <c:pt idx="175">
                  <c:v>291672</c:v>
                </c:pt>
                <c:pt idx="176">
                  <c:v>295819</c:v>
                </c:pt>
                <c:pt idx="177">
                  <c:v>299962</c:v>
                </c:pt>
                <c:pt idx="178">
                  <c:v>303804</c:v>
                </c:pt>
                <c:pt idx="179">
                  <c:v>307635</c:v>
                </c:pt>
                <c:pt idx="180">
                  <c:v>311781</c:v>
                </c:pt>
                <c:pt idx="181">
                  <c:v>313700</c:v>
                </c:pt>
                <c:pt idx="182">
                  <c:v>315173</c:v>
                </c:pt>
                <c:pt idx="183">
                  <c:v>318465</c:v>
                </c:pt>
                <c:pt idx="184">
                  <c:v>321879</c:v>
                </c:pt>
                <c:pt idx="185">
                  <c:v>325437</c:v>
                </c:pt>
                <c:pt idx="186">
                  <c:v>328810</c:v>
                </c:pt>
                <c:pt idx="187">
                  <c:v>332889</c:v>
                </c:pt>
                <c:pt idx="188">
                  <c:v>333894</c:v>
                </c:pt>
                <c:pt idx="189">
                  <c:v>335004</c:v>
                </c:pt>
                <c:pt idx="190">
                  <c:v>336258</c:v>
                </c:pt>
                <c:pt idx="191">
                  <c:v>338886</c:v>
                </c:pt>
                <c:pt idx="192">
                  <c:v>347641</c:v>
                </c:pt>
                <c:pt idx="193">
                  <c:v>356794</c:v>
                </c:pt>
                <c:pt idx="194">
                  <c:v>366124</c:v>
                </c:pt>
                <c:pt idx="195">
                  <c:v>369871</c:v>
                </c:pt>
                <c:pt idx="196">
                  <c:v>3724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911-4592-A267-E0FEEF560F48}"/>
            </c:ext>
          </c:extLst>
        </c:ser>
        <c:ser>
          <c:idx val="10"/>
          <c:order val="10"/>
          <c:tx>
            <c:strRef>
              <c:f>List1!$A$12</c:f>
              <c:strCache>
                <c:ptCount val="1"/>
                <c:pt idx="0">
                  <c:v>30–34</c:v>
                </c:pt>
              </c:strCache>
            </c:strRef>
          </c:tx>
          <c:spPr>
            <a:ln w="28575" cap="rnd">
              <a:solidFill>
                <a:srgbClr val="CC99FF"/>
              </a:solidFill>
              <a:round/>
            </a:ln>
            <a:effectLst/>
          </c:spPr>
          <c:marker>
            <c:symbol val="none"/>
          </c:marker>
          <c:cat>
            <c:strRef>
              <c:f>List1!$B$1:$GP$1</c:f>
              <c:strCache>
                <c:ptCount val="197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  <c:pt idx="176">
                  <c:v>21-VI.</c:v>
                </c:pt>
                <c:pt idx="177">
                  <c:v>22-VI.</c:v>
                </c:pt>
                <c:pt idx="178">
                  <c:v>23-VI.</c:v>
                </c:pt>
                <c:pt idx="179">
                  <c:v>24-VI.</c:v>
                </c:pt>
                <c:pt idx="180">
                  <c:v>25-VI.</c:v>
                </c:pt>
                <c:pt idx="181">
                  <c:v>26-VI.</c:v>
                </c:pt>
                <c:pt idx="182">
                  <c:v>27-VI.</c:v>
                </c:pt>
                <c:pt idx="183">
                  <c:v>28-VI.</c:v>
                </c:pt>
                <c:pt idx="184">
                  <c:v>29-VI.</c:v>
                </c:pt>
                <c:pt idx="185">
                  <c:v>30-VI.</c:v>
                </c:pt>
                <c:pt idx="186">
                  <c:v>1-VII.</c:v>
                </c:pt>
                <c:pt idx="187">
                  <c:v>2-VII.</c:v>
                </c:pt>
                <c:pt idx="188">
                  <c:v>3-VII.</c:v>
                </c:pt>
                <c:pt idx="189">
                  <c:v>4-VII.</c:v>
                </c:pt>
                <c:pt idx="190">
                  <c:v>5-VII.</c:v>
                </c:pt>
                <c:pt idx="191">
                  <c:v>6-VII.</c:v>
                </c:pt>
                <c:pt idx="192">
                  <c:v>7-VII.</c:v>
                </c:pt>
                <c:pt idx="193">
                  <c:v>8-VII.</c:v>
                </c:pt>
                <c:pt idx="194">
                  <c:v>9-VII.</c:v>
                </c:pt>
                <c:pt idx="195">
                  <c:v>10-VII.</c:v>
                </c:pt>
                <c:pt idx="196">
                  <c:v>11-VII.</c:v>
                </c:pt>
              </c:strCache>
            </c:strRef>
          </c:cat>
          <c:val>
            <c:numRef>
              <c:f>List1!$B$12:$GP$12</c:f>
              <c:numCache>
                <c:formatCode>General</c:formatCode>
                <c:ptCount val="197"/>
                <c:pt idx="0">
                  <c:v>110</c:v>
                </c:pt>
                <c:pt idx="1">
                  <c:v>336</c:v>
                </c:pt>
                <c:pt idx="2">
                  <c:v>612</c:v>
                </c:pt>
                <c:pt idx="3">
                  <c:v>871</c:v>
                </c:pt>
                <c:pt idx="4">
                  <c:v>978</c:v>
                </c:pt>
                <c:pt idx="5">
                  <c:v>995</c:v>
                </c:pt>
                <c:pt idx="6">
                  <c:v>1098</c:v>
                </c:pt>
                <c:pt idx="7">
                  <c:v>1183</c:v>
                </c:pt>
                <c:pt idx="8">
                  <c:v>1475</c:v>
                </c:pt>
                <c:pt idx="9">
                  <c:v>1840</c:v>
                </c:pt>
                <c:pt idx="10">
                  <c:v>2281</c:v>
                </c:pt>
                <c:pt idx="11">
                  <c:v>2847</c:v>
                </c:pt>
                <c:pt idx="12">
                  <c:v>3511</c:v>
                </c:pt>
                <c:pt idx="13">
                  <c:v>3621</c:v>
                </c:pt>
                <c:pt idx="14">
                  <c:v>3732</c:v>
                </c:pt>
                <c:pt idx="15">
                  <c:v>4398</c:v>
                </c:pt>
                <c:pt idx="16">
                  <c:v>5228</c:v>
                </c:pt>
                <c:pt idx="17">
                  <c:v>5997</c:v>
                </c:pt>
                <c:pt idx="18">
                  <c:v>6773</c:v>
                </c:pt>
                <c:pt idx="19">
                  <c:v>7479</c:v>
                </c:pt>
                <c:pt idx="20">
                  <c:v>7567</c:v>
                </c:pt>
                <c:pt idx="21">
                  <c:v>7689</c:v>
                </c:pt>
                <c:pt idx="22">
                  <c:v>8305</c:v>
                </c:pt>
                <c:pt idx="23">
                  <c:v>8864</c:v>
                </c:pt>
                <c:pt idx="24">
                  <c:v>9402</c:v>
                </c:pt>
                <c:pt idx="25">
                  <c:v>9894</c:v>
                </c:pt>
                <c:pt idx="26">
                  <c:v>10275</c:v>
                </c:pt>
                <c:pt idx="27">
                  <c:v>10371</c:v>
                </c:pt>
                <c:pt idx="28">
                  <c:v>10465</c:v>
                </c:pt>
                <c:pt idx="29">
                  <c:v>10918</c:v>
                </c:pt>
                <c:pt idx="30">
                  <c:v>11455</c:v>
                </c:pt>
                <c:pt idx="31">
                  <c:v>11997</c:v>
                </c:pt>
                <c:pt idx="32">
                  <c:v>12582</c:v>
                </c:pt>
                <c:pt idx="33">
                  <c:v>13233</c:v>
                </c:pt>
                <c:pt idx="34">
                  <c:v>13301</c:v>
                </c:pt>
                <c:pt idx="35">
                  <c:v>13386</c:v>
                </c:pt>
                <c:pt idx="36">
                  <c:v>14019</c:v>
                </c:pt>
                <c:pt idx="37">
                  <c:v>14741</c:v>
                </c:pt>
                <c:pt idx="38">
                  <c:v>15509</c:v>
                </c:pt>
                <c:pt idx="39">
                  <c:v>16345</c:v>
                </c:pt>
                <c:pt idx="40">
                  <c:v>17023</c:v>
                </c:pt>
                <c:pt idx="41">
                  <c:v>17116</c:v>
                </c:pt>
                <c:pt idx="42">
                  <c:v>17193</c:v>
                </c:pt>
                <c:pt idx="43">
                  <c:v>17774</c:v>
                </c:pt>
                <c:pt idx="44">
                  <c:v>18341</c:v>
                </c:pt>
                <c:pt idx="45">
                  <c:v>18833</c:v>
                </c:pt>
                <c:pt idx="46">
                  <c:v>19389</c:v>
                </c:pt>
                <c:pt idx="47">
                  <c:v>19899</c:v>
                </c:pt>
                <c:pt idx="48">
                  <c:v>19973</c:v>
                </c:pt>
                <c:pt idx="49">
                  <c:v>19997</c:v>
                </c:pt>
                <c:pt idx="50">
                  <c:v>20417</c:v>
                </c:pt>
                <c:pt idx="51">
                  <c:v>20776</c:v>
                </c:pt>
                <c:pt idx="52">
                  <c:v>21190</c:v>
                </c:pt>
                <c:pt idx="53">
                  <c:v>21635</c:v>
                </c:pt>
                <c:pt idx="54">
                  <c:v>22059</c:v>
                </c:pt>
                <c:pt idx="55">
                  <c:v>22119</c:v>
                </c:pt>
                <c:pt idx="56">
                  <c:v>22142</c:v>
                </c:pt>
                <c:pt idx="57">
                  <c:v>22561</c:v>
                </c:pt>
                <c:pt idx="58">
                  <c:v>23052</c:v>
                </c:pt>
                <c:pt idx="59">
                  <c:v>23591</c:v>
                </c:pt>
                <c:pt idx="60">
                  <c:v>24193</c:v>
                </c:pt>
                <c:pt idx="61">
                  <c:v>24766</c:v>
                </c:pt>
                <c:pt idx="62">
                  <c:v>24847</c:v>
                </c:pt>
                <c:pt idx="63">
                  <c:v>24922</c:v>
                </c:pt>
                <c:pt idx="64">
                  <c:v>25526</c:v>
                </c:pt>
                <c:pt idx="65">
                  <c:v>26218</c:v>
                </c:pt>
                <c:pt idx="66">
                  <c:v>26991</c:v>
                </c:pt>
                <c:pt idx="67">
                  <c:v>27577</c:v>
                </c:pt>
                <c:pt idx="68">
                  <c:v>28283</c:v>
                </c:pt>
                <c:pt idx="69">
                  <c:v>28519</c:v>
                </c:pt>
                <c:pt idx="70">
                  <c:v>28736</c:v>
                </c:pt>
                <c:pt idx="71">
                  <c:v>29391</c:v>
                </c:pt>
                <c:pt idx="72">
                  <c:v>30157</c:v>
                </c:pt>
                <c:pt idx="73">
                  <c:v>31022</c:v>
                </c:pt>
                <c:pt idx="74">
                  <c:v>32067</c:v>
                </c:pt>
                <c:pt idx="75">
                  <c:v>32945</c:v>
                </c:pt>
                <c:pt idx="76">
                  <c:v>33162</c:v>
                </c:pt>
                <c:pt idx="77">
                  <c:v>33355</c:v>
                </c:pt>
                <c:pt idx="78">
                  <c:v>34067</c:v>
                </c:pt>
                <c:pt idx="79">
                  <c:v>35044</c:v>
                </c:pt>
                <c:pt idx="80">
                  <c:v>35944</c:v>
                </c:pt>
                <c:pt idx="81">
                  <c:v>36795</c:v>
                </c:pt>
                <c:pt idx="82">
                  <c:v>37682</c:v>
                </c:pt>
                <c:pt idx="83">
                  <c:v>37984</c:v>
                </c:pt>
                <c:pt idx="84">
                  <c:v>38161</c:v>
                </c:pt>
                <c:pt idx="85">
                  <c:v>38847</c:v>
                </c:pt>
                <c:pt idx="86">
                  <c:v>39597</c:v>
                </c:pt>
                <c:pt idx="87">
                  <c:v>40483</c:v>
                </c:pt>
                <c:pt idx="88">
                  <c:v>41294</c:v>
                </c:pt>
                <c:pt idx="89">
                  <c:v>42355</c:v>
                </c:pt>
                <c:pt idx="90">
                  <c:v>42587</c:v>
                </c:pt>
                <c:pt idx="91">
                  <c:v>42781</c:v>
                </c:pt>
                <c:pt idx="92">
                  <c:v>43580</c:v>
                </c:pt>
                <c:pt idx="93">
                  <c:v>44519</c:v>
                </c:pt>
                <c:pt idx="94">
                  <c:v>45556</c:v>
                </c:pt>
                <c:pt idx="95">
                  <c:v>46796</c:v>
                </c:pt>
                <c:pt idx="96">
                  <c:v>47158</c:v>
                </c:pt>
                <c:pt idx="97">
                  <c:v>47446</c:v>
                </c:pt>
                <c:pt idx="98">
                  <c:v>47632</c:v>
                </c:pt>
                <c:pt idx="99">
                  <c:v>47820</c:v>
                </c:pt>
                <c:pt idx="100">
                  <c:v>48771</c:v>
                </c:pt>
                <c:pt idx="101">
                  <c:v>49624</c:v>
                </c:pt>
                <c:pt idx="102">
                  <c:v>50844</c:v>
                </c:pt>
                <c:pt idx="103">
                  <c:v>52477</c:v>
                </c:pt>
                <c:pt idx="104">
                  <c:v>53014</c:v>
                </c:pt>
                <c:pt idx="105">
                  <c:v>53337</c:v>
                </c:pt>
                <c:pt idx="106">
                  <c:v>54306</c:v>
                </c:pt>
                <c:pt idx="107">
                  <c:v>55412</c:v>
                </c:pt>
                <c:pt idx="108">
                  <c:v>56472</c:v>
                </c:pt>
                <c:pt idx="109">
                  <c:v>57815</c:v>
                </c:pt>
                <c:pt idx="110">
                  <c:v>59422</c:v>
                </c:pt>
                <c:pt idx="111">
                  <c:v>60063</c:v>
                </c:pt>
                <c:pt idx="112">
                  <c:v>60572</c:v>
                </c:pt>
                <c:pt idx="113">
                  <c:v>61742</c:v>
                </c:pt>
                <c:pt idx="114">
                  <c:v>62839</c:v>
                </c:pt>
                <c:pt idx="115">
                  <c:v>64110</c:v>
                </c:pt>
                <c:pt idx="116">
                  <c:v>65516</c:v>
                </c:pt>
                <c:pt idx="117">
                  <c:v>67338</c:v>
                </c:pt>
                <c:pt idx="118">
                  <c:v>67865</c:v>
                </c:pt>
                <c:pt idx="119">
                  <c:v>68311</c:v>
                </c:pt>
                <c:pt idx="120">
                  <c:v>69237</c:v>
                </c:pt>
                <c:pt idx="121">
                  <c:v>70160</c:v>
                </c:pt>
                <c:pt idx="122">
                  <c:v>71277</c:v>
                </c:pt>
                <c:pt idx="123">
                  <c:v>72544</c:v>
                </c:pt>
                <c:pt idx="124">
                  <c:v>73864</c:v>
                </c:pt>
                <c:pt idx="125">
                  <c:v>74183</c:v>
                </c:pt>
                <c:pt idx="126">
                  <c:v>74490</c:v>
                </c:pt>
                <c:pt idx="127">
                  <c:v>75428</c:v>
                </c:pt>
                <c:pt idx="128">
                  <c:v>76459</c:v>
                </c:pt>
                <c:pt idx="129">
                  <c:v>77682</c:v>
                </c:pt>
                <c:pt idx="130">
                  <c:v>79038</c:v>
                </c:pt>
                <c:pt idx="131">
                  <c:v>80755</c:v>
                </c:pt>
                <c:pt idx="132">
                  <c:v>81383</c:v>
                </c:pt>
                <c:pt idx="133">
                  <c:v>81883</c:v>
                </c:pt>
                <c:pt idx="134">
                  <c:v>83131</c:v>
                </c:pt>
                <c:pt idx="135">
                  <c:v>84498</c:v>
                </c:pt>
                <c:pt idx="136">
                  <c:v>85768</c:v>
                </c:pt>
                <c:pt idx="137">
                  <c:v>87099</c:v>
                </c:pt>
                <c:pt idx="138">
                  <c:v>88468</c:v>
                </c:pt>
                <c:pt idx="139">
                  <c:v>89035</c:v>
                </c:pt>
                <c:pt idx="140">
                  <c:v>89439</c:v>
                </c:pt>
                <c:pt idx="141">
                  <c:v>90409</c:v>
                </c:pt>
                <c:pt idx="142">
                  <c:v>91606</c:v>
                </c:pt>
                <c:pt idx="143">
                  <c:v>92836</c:v>
                </c:pt>
                <c:pt idx="144">
                  <c:v>94271</c:v>
                </c:pt>
                <c:pt idx="145">
                  <c:v>96057</c:v>
                </c:pt>
                <c:pt idx="146">
                  <c:v>96636</c:v>
                </c:pt>
                <c:pt idx="147">
                  <c:v>97051</c:v>
                </c:pt>
                <c:pt idx="148">
                  <c:v>98392</c:v>
                </c:pt>
                <c:pt idx="149">
                  <c:v>99724</c:v>
                </c:pt>
                <c:pt idx="150">
                  <c:v>101770</c:v>
                </c:pt>
                <c:pt idx="151">
                  <c:v>105064</c:v>
                </c:pt>
                <c:pt idx="152">
                  <c:v>109296</c:v>
                </c:pt>
                <c:pt idx="153">
                  <c:v>111855</c:v>
                </c:pt>
                <c:pt idx="154">
                  <c:v>113560</c:v>
                </c:pt>
                <c:pt idx="155">
                  <c:v>119978</c:v>
                </c:pt>
                <c:pt idx="156">
                  <c:v>127448</c:v>
                </c:pt>
                <c:pt idx="157">
                  <c:v>136636</c:v>
                </c:pt>
                <c:pt idx="158">
                  <c:v>146979</c:v>
                </c:pt>
                <c:pt idx="159">
                  <c:v>158090</c:v>
                </c:pt>
                <c:pt idx="160">
                  <c:v>164765</c:v>
                </c:pt>
                <c:pt idx="161">
                  <c:v>172657</c:v>
                </c:pt>
                <c:pt idx="162">
                  <c:v>186259</c:v>
                </c:pt>
                <c:pt idx="163">
                  <c:v>200540</c:v>
                </c:pt>
                <c:pt idx="164">
                  <c:v>214021</c:v>
                </c:pt>
                <c:pt idx="165">
                  <c:v>225655</c:v>
                </c:pt>
                <c:pt idx="166">
                  <c:v>237465</c:v>
                </c:pt>
                <c:pt idx="167">
                  <c:v>244104</c:v>
                </c:pt>
                <c:pt idx="168">
                  <c:v>249096</c:v>
                </c:pt>
                <c:pt idx="169">
                  <c:v>257862</c:v>
                </c:pt>
                <c:pt idx="170">
                  <c:v>265094</c:v>
                </c:pt>
                <c:pt idx="171">
                  <c:v>272023</c:v>
                </c:pt>
                <c:pt idx="172">
                  <c:v>277800</c:v>
                </c:pt>
                <c:pt idx="173">
                  <c:v>284247</c:v>
                </c:pt>
                <c:pt idx="174">
                  <c:v>287411</c:v>
                </c:pt>
                <c:pt idx="175">
                  <c:v>289902</c:v>
                </c:pt>
                <c:pt idx="176">
                  <c:v>295108</c:v>
                </c:pt>
                <c:pt idx="177">
                  <c:v>299889</c:v>
                </c:pt>
                <c:pt idx="178">
                  <c:v>304972</c:v>
                </c:pt>
                <c:pt idx="179">
                  <c:v>310170</c:v>
                </c:pt>
                <c:pt idx="180">
                  <c:v>315532</c:v>
                </c:pt>
                <c:pt idx="181">
                  <c:v>317823</c:v>
                </c:pt>
                <c:pt idx="182">
                  <c:v>320047</c:v>
                </c:pt>
                <c:pt idx="183">
                  <c:v>324663</c:v>
                </c:pt>
                <c:pt idx="184">
                  <c:v>329150</c:v>
                </c:pt>
                <c:pt idx="185">
                  <c:v>333728</c:v>
                </c:pt>
                <c:pt idx="186">
                  <c:v>337572</c:v>
                </c:pt>
                <c:pt idx="187">
                  <c:v>342066</c:v>
                </c:pt>
                <c:pt idx="188">
                  <c:v>343167</c:v>
                </c:pt>
                <c:pt idx="189">
                  <c:v>344282</c:v>
                </c:pt>
                <c:pt idx="190">
                  <c:v>345476</c:v>
                </c:pt>
                <c:pt idx="191">
                  <c:v>346562</c:v>
                </c:pt>
                <c:pt idx="192">
                  <c:v>351280</c:v>
                </c:pt>
                <c:pt idx="193">
                  <c:v>356699</c:v>
                </c:pt>
                <c:pt idx="194">
                  <c:v>363166</c:v>
                </c:pt>
                <c:pt idx="195">
                  <c:v>366544</c:v>
                </c:pt>
                <c:pt idx="196">
                  <c:v>3691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11-4592-A267-E0FEEF560F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5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462669612369699"/>
          <c:y val="9.8345988965239925E-2"/>
          <c:w val="6.7641483788482074E-2"/>
          <c:h val="0.772266679956727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68959430138824052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dravotničtí pracovníci / ochrana veřejného zdraví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GP$1</c:f>
              <c:strCache>
                <c:ptCount val="197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  <c:pt idx="176">
                  <c:v>21-VI.</c:v>
                </c:pt>
                <c:pt idx="177">
                  <c:v>22-VI.</c:v>
                </c:pt>
                <c:pt idx="178">
                  <c:v>23-VI.</c:v>
                </c:pt>
                <c:pt idx="179">
                  <c:v>24-VI.</c:v>
                </c:pt>
                <c:pt idx="180">
                  <c:v>25-VI.</c:v>
                </c:pt>
                <c:pt idx="181">
                  <c:v>26-VI.</c:v>
                </c:pt>
                <c:pt idx="182">
                  <c:v>27-VI.</c:v>
                </c:pt>
                <c:pt idx="183">
                  <c:v>28-VI.</c:v>
                </c:pt>
                <c:pt idx="184">
                  <c:v>29-VI.</c:v>
                </c:pt>
                <c:pt idx="185">
                  <c:v>30-VI.</c:v>
                </c:pt>
                <c:pt idx="186">
                  <c:v>1-VII.</c:v>
                </c:pt>
                <c:pt idx="187">
                  <c:v>2-VII.</c:v>
                </c:pt>
                <c:pt idx="188">
                  <c:v>3-VII.</c:v>
                </c:pt>
                <c:pt idx="189">
                  <c:v>4-VII.</c:v>
                </c:pt>
                <c:pt idx="190">
                  <c:v>5-VII.</c:v>
                </c:pt>
                <c:pt idx="191">
                  <c:v>6-VII.</c:v>
                </c:pt>
                <c:pt idx="192">
                  <c:v>7-VII.</c:v>
                </c:pt>
                <c:pt idx="193">
                  <c:v>8-VII.</c:v>
                </c:pt>
                <c:pt idx="194">
                  <c:v>9-VII.</c:v>
                </c:pt>
                <c:pt idx="195">
                  <c:v>10-VII.</c:v>
                </c:pt>
                <c:pt idx="196">
                  <c:v>11-VII.</c:v>
                </c:pt>
              </c:strCache>
            </c:strRef>
          </c:cat>
          <c:val>
            <c:numRef>
              <c:f>List1!$B$2:$GP$2</c:f>
              <c:numCache>
                <c:formatCode>General</c:formatCode>
                <c:ptCount val="197"/>
                <c:pt idx="0">
                  <c:v>1093</c:v>
                </c:pt>
                <c:pt idx="1">
                  <c:v>3100</c:v>
                </c:pt>
                <c:pt idx="2">
                  <c:v>5950</c:v>
                </c:pt>
                <c:pt idx="3">
                  <c:v>8834</c:v>
                </c:pt>
                <c:pt idx="4">
                  <c:v>9809</c:v>
                </c:pt>
                <c:pt idx="5">
                  <c:v>10054</c:v>
                </c:pt>
                <c:pt idx="6">
                  <c:v>11256</c:v>
                </c:pt>
                <c:pt idx="7">
                  <c:v>12126</c:v>
                </c:pt>
                <c:pt idx="8">
                  <c:v>15436</c:v>
                </c:pt>
                <c:pt idx="9">
                  <c:v>19610</c:v>
                </c:pt>
                <c:pt idx="10">
                  <c:v>24908</c:v>
                </c:pt>
                <c:pt idx="11">
                  <c:v>31386</c:v>
                </c:pt>
                <c:pt idx="12">
                  <c:v>38736</c:v>
                </c:pt>
                <c:pt idx="13">
                  <c:v>40060</c:v>
                </c:pt>
                <c:pt idx="14">
                  <c:v>41233</c:v>
                </c:pt>
                <c:pt idx="15">
                  <c:v>48604</c:v>
                </c:pt>
                <c:pt idx="16">
                  <c:v>57219</c:v>
                </c:pt>
                <c:pt idx="17">
                  <c:v>64736</c:v>
                </c:pt>
                <c:pt idx="18">
                  <c:v>72751</c:v>
                </c:pt>
                <c:pt idx="19">
                  <c:v>79713</c:v>
                </c:pt>
                <c:pt idx="20">
                  <c:v>80818</c:v>
                </c:pt>
                <c:pt idx="21">
                  <c:v>82036</c:v>
                </c:pt>
                <c:pt idx="22">
                  <c:v>88848</c:v>
                </c:pt>
                <c:pt idx="23">
                  <c:v>95353</c:v>
                </c:pt>
                <c:pt idx="24">
                  <c:v>101736</c:v>
                </c:pt>
                <c:pt idx="25">
                  <c:v>107357</c:v>
                </c:pt>
                <c:pt idx="26">
                  <c:v>111622</c:v>
                </c:pt>
                <c:pt idx="27">
                  <c:v>113010</c:v>
                </c:pt>
                <c:pt idx="28">
                  <c:v>114277</c:v>
                </c:pt>
                <c:pt idx="29">
                  <c:v>119207</c:v>
                </c:pt>
                <c:pt idx="30">
                  <c:v>125137</c:v>
                </c:pt>
                <c:pt idx="31">
                  <c:v>131208</c:v>
                </c:pt>
                <c:pt idx="32">
                  <c:v>138048</c:v>
                </c:pt>
                <c:pt idx="33">
                  <c:v>145715</c:v>
                </c:pt>
                <c:pt idx="34">
                  <c:v>146479</c:v>
                </c:pt>
                <c:pt idx="35">
                  <c:v>147235</c:v>
                </c:pt>
                <c:pt idx="36">
                  <c:v>154355</c:v>
                </c:pt>
                <c:pt idx="37">
                  <c:v>162608</c:v>
                </c:pt>
                <c:pt idx="38">
                  <c:v>170462</c:v>
                </c:pt>
                <c:pt idx="39">
                  <c:v>179075</c:v>
                </c:pt>
                <c:pt idx="40">
                  <c:v>186552</c:v>
                </c:pt>
                <c:pt idx="41">
                  <c:v>187572</c:v>
                </c:pt>
                <c:pt idx="42">
                  <c:v>188518</c:v>
                </c:pt>
                <c:pt idx="43">
                  <c:v>194865</c:v>
                </c:pt>
                <c:pt idx="44">
                  <c:v>200501</c:v>
                </c:pt>
                <c:pt idx="45">
                  <c:v>206037</c:v>
                </c:pt>
                <c:pt idx="46">
                  <c:v>211868</c:v>
                </c:pt>
                <c:pt idx="47">
                  <c:v>217298</c:v>
                </c:pt>
                <c:pt idx="48">
                  <c:v>218458</c:v>
                </c:pt>
                <c:pt idx="49">
                  <c:v>218989</c:v>
                </c:pt>
                <c:pt idx="50">
                  <c:v>223568</c:v>
                </c:pt>
                <c:pt idx="51">
                  <c:v>227411</c:v>
                </c:pt>
                <c:pt idx="52">
                  <c:v>230894</c:v>
                </c:pt>
                <c:pt idx="53">
                  <c:v>234689</c:v>
                </c:pt>
                <c:pt idx="54">
                  <c:v>238822</c:v>
                </c:pt>
                <c:pt idx="55">
                  <c:v>239446</c:v>
                </c:pt>
                <c:pt idx="56">
                  <c:v>239748</c:v>
                </c:pt>
                <c:pt idx="57">
                  <c:v>242867</c:v>
                </c:pt>
                <c:pt idx="58">
                  <c:v>247095</c:v>
                </c:pt>
                <c:pt idx="59">
                  <c:v>251165</c:v>
                </c:pt>
                <c:pt idx="60">
                  <c:v>256062</c:v>
                </c:pt>
                <c:pt idx="61">
                  <c:v>260561</c:v>
                </c:pt>
                <c:pt idx="62">
                  <c:v>261017</c:v>
                </c:pt>
                <c:pt idx="63">
                  <c:v>261331</c:v>
                </c:pt>
                <c:pt idx="64">
                  <c:v>265040</c:v>
                </c:pt>
                <c:pt idx="65">
                  <c:v>269224</c:v>
                </c:pt>
                <c:pt idx="66">
                  <c:v>273536</c:v>
                </c:pt>
                <c:pt idx="67">
                  <c:v>277252</c:v>
                </c:pt>
                <c:pt idx="68">
                  <c:v>281789</c:v>
                </c:pt>
                <c:pt idx="69">
                  <c:v>282657</c:v>
                </c:pt>
                <c:pt idx="70">
                  <c:v>283389</c:v>
                </c:pt>
                <c:pt idx="71">
                  <c:v>286752</c:v>
                </c:pt>
                <c:pt idx="72">
                  <c:v>290435</c:v>
                </c:pt>
                <c:pt idx="73">
                  <c:v>294566</c:v>
                </c:pt>
                <c:pt idx="74">
                  <c:v>299799</c:v>
                </c:pt>
                <c:pt idx="75">
                  <c:v>304840</c:v>
                </c:pt>
                <c:pt idx="76">
                  <c:v>305828</c:v>
                </c:pt>
                <c:pt idx="77">
                  <c:v>306824</c:v>
                </c:pt>
                <c:pt idx="78">
                  <c:v>310591</c:v>
                </c:pt>
                <c:pt idx="79">
                  <c:v>315282</c:v>
                </c:pt>
                <c:pt idx="80">
                  <c:v>320053</c:v>
                </c:pt>
                <c:pt idx="81">
                  <c:v>324825</c:v>
                </c:pt>
                <c:pt idx="82">
                  <c:v>330573</c:v>
                </c:pt>
                <c:pt idx="83">
                  <c:v>332070</c:v>
                </c:pt>
                <c:pt idx="84">
                  <c:v>332892</c:v>
                </c:pt>
                <c:pt idx="85">
                  <c:v>336635</c:v>
                </c:pt>
                <c:pt idx="86">
                  <c:v>340566</c:v>
                </c:pt>
                <c:pt idx="87">
                  <c:v>344435</c:v>
                </c:pt>
                <c:pt idx="88">
                  <c:v>348680</c:v>
                </c:pt>
                <c:pt idx="89">
                  <c:v>353600</c:v>
                </c:pt>
                <c:pt idx="90">
                  <c:v>354901</c:v>
                </c:pt>
                <c:pt idx="91">
                  <c:v>355748</c:v>
                </c:pt>
                <c:pt idx="92">
                  <c:v>359192</c:v>
                </c:pt>
                <c:pt idx="93">
                  <c:v>363058</c:v>
                </c:pt>
                <c:pt idx="94">
                  <c:v>367167</c:v>
                </c:pt>
                <c:pt idx="95">
                  <c:v>371745</c:v>
                </c:pt>
                <c:pt idx="96">
                  <c:v>373300</c:v>
                </c:pt>
                <c:pt idx="97">
                  <c:v>374483</c:v>
                </c:pt>
                <c:pt idx="98">
                  <c:v>375242</c:v>
                </c:pt>
                <c:pt idx="99">
                  <c:v>375915</c:v>
                </c:pt>
                <c:pt idx="100">
                  <c:v>379877</c:v>
                </c:pt>
                <c:pt idx="101">
                  <c:v>383057</c:v>
                </c:pt>
                <c:pt idx="102">
                  <c:v>387160</c:v>
                </c:pt>
                <c:pt idx="103">
                  <c:v>391734</c:v>
                </c:pt>
                <c:pt idx="104">
                  <c:v>393519</c:v>
                </c:pt>
                <c:pt idx="105">
                  <c:v>394627</c:v>
                </c:pt>
                <c:pt idx="106">
                  <c:v>397751</c:v>
                </c:pt>
                <c:pt idx="107">
                  <c:v>400990</c:v>
                </c:pt>
                <c:pt idx="108">
                  <c:v>404387</c:v>
                </c:pt>
                <c:pt idx="109">
                  <c:v>408192</c:v>
                </c:pt>
                <c:pt idx="110">
                  <c:v>412557</c:v>
                </c:pt>
                <c:pt idx="111">
                  <c:v>413770</c:v>
                </c:pt>
                <c:pt idx="112">
                  <c:v>414893</c:v>
                </c:pt>
                <c:pt idx="113">
                  <c:v>417790</c:v>
                </c:pt>
                <c:pt idx="114">
                  <c:v>420506</c:v>
                </c:pt>
                <c:pt idx="115">
                  <c:v>423129</c:v>
                </c:pt>
                <c:pt idx="116">
                  <c:v>426028</c:v>
                </c:pt>
                <c:pt idx="117">
                  <c:v>428846</c:v>
                </c:pt>
                <c:pt idx="118">
                  <c:v>429807</c:v>
                </c:pt>
                <c:pt idx="119">
                  <c:v>430666</c:v>
                </c:pt>
                <c:pt idx="120">
                  <c:v>432787</c:v>
                </c:pt>
                <c:pt idx="121">
                  <c:v>434971</c:v>
                </c:pt>
                <c:pt idx="122">
                  <c:v>437700</c:v>
                </c:pt>
                <c:pt idx="123">
                  <c:v>440372</c:v>
                </c:pt>
                <c:pt idx="124">
                  <c:v>442996</c:v>
                </c:pt>
                <c:pt idx="125">
                  <c:v>443492</c:v>
                </c:pt>
                <c:pt idx="126">
                  <c:v>444064</c:v>
                </c:pt>
                <c:pt idx="127">
                  <c:v>446133</c:v>
                </c:pt>
                <c:pt idx="128">
                  <c:v>448332</c:v>
                </c:pt>
                <c:pt idx="129">
                  <c:v>450732</c:v>
                </c:pt>
                <c:pt idx="130">
                  <c:v>453231</c:v>
                </c:pt>
                <c:pt idx="131">
                  <c:v>456004</c:v>
                </c:pt>
                <c:pt idx="132">
                  <c:v>456684</c:v>
                </c:pt>
                <c:pt idx="133">
                  <c:v>457199</c:v>
                </c:pt>
                <c:pt idx="134">
                  <c:v>458860</c:v>
                </c:pt>
                <c:pt idx="135">
                  <c:v>461043</c:v>
                </c:pt>
                <c:pt idx="136">
                  <c:v>463187</c:v>
                </c:pt>
                <c:pt idx="137">
                  <c:v>465462</c:v>
                </c:pt>
                <c:pt idx="138">
                  <c:v>467582</c:v>
                </c:pt>
                <c:pt idx="139">
                  <c:v>468694</c:v>
                </c:pt>
                <c:pt idx="140">
                  <c:v>469100</c:v>
                </c:pt>
                <c:pt idx="141">
                  <c:v>470451</c:v>
                </c:pt>
                <c:pt idx="142">
                  <c:v>472649</c:v>
                </c:pt>
                <c:pt idx="143">
                  <c:v>474827</c:v>
                </c:pt>
                <c:pt idx="144">
                  <c:v>477678</c:v>
                </c:pt>
                <c:pt idx="145">
                  <c:v>480577</c:v>
                </c:pt>
                <c:pt idx="146">
                  <c:v>481584</c:v>
                </c:pt>
                <c:pt idx="147">
                  <c:v>482483</c:v>
                </c:pt>
                <c:pt idx="148">
                  <c:v>484584</c:v>
                </c:pt>
                <c:pt idx="149">
                  <c:v>487056</c:v>
                </c:pt>
                <c:pt idx="150">
                  <c:v>489420</c:v>
                </c:pt>
                <c:pt idx="151">
                  <c:v>492129</c:v>
                </c:pt>
                <c:pt idx="152">
                  <c:v>495232</c:v>
                </c:pt>
                <c:pt idx="153">
                  <c:v>496296</c:v>
                </c:pt>
                <c:pt idx="154">
                  <c:v>497461</c:v>
                </c:pt>
                <c:pt idx="155">
                  <c:v>500020</c:v>
                </c:pt>
                <c:pt idx="156">
                  <c:v>502658</c:v>
                </c:pt>
                <c:pt idx="157">
                  <c:v>505342</c:v>
                </c:pt>
                <c:pt idx="158">
                  <c:v>508097</c:v>
                </c:pt>
                <c:pt idx="159">
                  <c:v>511178</c:v>
                </c:pt>
                <c:pt idx="160">
                  <c:v>512107</c:v>
                </c:pt>
                <c:pt idx="161">
                  <c:v>512929</c:v>
                </c:pt>
                <c:pt idx="162">
                  <c:v>515515</c:v>
                </c:pt>
                <c:pt idx="163">
                  <c:v>518070</c:v>
                </c:pt>
                <c:pt idx="164">
                  <c:v>520874</c:v>
                </c:pt>
                <c:pt idx="165">
                  <c:v>523846</c:v>
                </c:pt>
                <c:pt idx="166">
                  <c:v>526823</c:v>
                </c:pt>
                <c:pt idx="167">
                  <c:v>527731</c:v>
                </c:pt>
                <c:pt idx="168">
                  <c:v>528521</c:v>
                </c:pt>
                <c:pt idx="169">
                  <c:v>531138</c:v>
                </c:pt>
                <c:pt idx="170">
                  <c:v>533840</c:v>
                </c:pt>
                <c:pt idx="171">
                  <c:v>536638</c:v>
                </c:pt>
                <c:pt idx="172">
                  <c:v>539362</c:v>
                </c:pt>
                <c:pt idx="173">
                  <c:v>542066</c:v>
                </c:pt>
                <c:pt idx="174">
                  <c:v>542958</c:v>
                </c:pt>
                <c:pt idx="175">
                  <c:v>543536</c:v>
                </c:pt>
                <c:pt idx="176">
                  <c:v>545369</c:v>
                </c:pt>
                <c:pt idx="177">
                  <c:v>547916</c:v>
                </c:pt>
                <c:pt idx="178">
                  <c:v>550118</c:v>
                </c:pt>
                <c:pt idx="179">
                  <c:v>552553</c:v>
                </c:pt>
                <c:pt idx="180">
                  <c:v>554771</c:v>
                </c:pt>
                <c:pt idx="181">
                  <c:v>555555</c:v>
                </c:pt>
                <c:pt idx="182">
                  <c:v>556073</c:v>
                </c:pt>
                <c:pt idx="183">
                  <c:v>557925</c:v>
                </c:pt>
                <c:pt idx="184">
                  <c:v>559951</c:v>
                </c:pt>
                <c:pt idx="185">
                  <c:v>561942</c:v>
                </c:pt>
                <c:pt idx="186">
                  <c:v>563706</c:v>
                </c:pt>
                <c:pt idx="187">
                  <c:v>565837</c:v>
                </c:pt>
                <c:pt idx="188">
                  <c:v>566397</c:v>
                </c:pt>
                <c:pt idx="189">
                  <c:v>566907</c:v>
                </c:pt>
                <c:pt idx="190">
                  <c:v>567258</c:v>
                </c:pt>
                <c:pt idx="191">
                  <c:v>567655</c:v>
                </c:pt>
                <c:pt idx="192">
                  <c:v>569524</c:v>
                </c:pt>
                <c:pt idx="193">
                  <c:v>571166</c:v>
                </c:pt>
                <c:pt idx="194">
                  <c:v>572718</c:v>
                </c:pt>
                <c:pt idx="195">
                  <c:v>573256</c:v>
                </c:pt>
                <c:pt idx="196">
                  <c:v>5736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Chronicky nemocní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GP$1</c:f>
              <c:strCache>
                <c:ptCount val="197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  <c:pt idx="176">
                  <c:v>21-VI.</c:v>
                </c:pt>
                <c:pt idx="177">
                  <c:v>22-VI.</c:v>
                </c:pt>
                <c:pt idx="178">
                  <c:v>23-VI.</c:v>
                </c:pt>
                <c:pt idx="179">
                  <c:v>24-VI.</c:v>
                </c:pt>
                <c:pt idx="180">
                  <c:v>25-VI.</c:v>
                </c:pt>
                <c:pt idx="181">
                  <c:v>26-VI.</c:v>
                </c:pt>
                <c:pt idx="182">
                  <c:v>27-VI.</c:v>
                </c:pt>
                <c:pt idx="183">
                  <c:v>28-VI.</c:v>
                </c:pt>
                <c:pt idx="184">
                  <c:v>29-VI.</c:v>
                </c:pt>
                <c:pt idx="185">
                  <c:v>30-VI.</c:v>
                </c:pt>
                <c:pt idx="186">
                  <c:v>1-VII.</c:v>
                </c:pt>
                <c:pt idx="187">
                  <c:v>2-VII.</c:v>
                </c:pt>
                <c:pt idx="188">
                  <c:v>3-VII.</c:v>
                </c:pt>
                <c:pt idx="189">
                  <c:v>4-VII.</c:v>
                </c:pt>
                <c:pt idx="190">
                  <c:v>5-VII.</c:v>
                </c:pt>
                <c:pt idx="191">
                  <c:v>6-VII.</c:v>
                </c:pt>
                <c:pt idx="192">
                  <c:v>7-VII.</c:v>
                </c:pt>
                <c:pt idx="193">
                  <c:v>8-VII.</c:v>
                </c:pt>
                <c:pt idx="194">
                  <c:v>9-VII.</c:v>
                </c:pt>
                <c:pt idx="195">
                  <c:v>10-VII.</c:v>
                </c:pt>
                <c:pt idx="196">
                  <c:v>11-VII.</c:v>
                </c:pt>
              </c:strCache>
            </c:strRef>
          </c:cat>
          <c:val>
            <c:numRef>
              <c:f>List1!$B$3:$GP$3</c:f>
              <c:numCache>
                <c:formatCode>General</c:formatCode>
                <c:ptCount val="19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2</c:v>
                </c:pt>
                <c:pt idx="5">
                  <c:v>2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4</c:v>
                </c:pt>
                <c:pt idx="10">
                  <c:v>5</c:v>
                </c:pt>
                <c:pt idx="11">
                  <c:v>7</c:v>
                </c:pt>
                <c:pt idx="12">
                  <c:v>7</c:v>
                </c:pt>
                <c:pt idx="13">
                  <c:v>7</c:v>
                </c:pt>
                <c:pt idx="14">
                  <c:v>7</c:v>
                </c:pt>
                <c:pt idx="15">
                  <c:v>8</c:v>
                </c:pt>
                <c:pt idx="16">
                  <c:v>10</c:v>
                </c:pt>
                <c:pt idx="17">
                  <c:v>14</c:v>
                </c:pt>
                <c:pt idx="18">
                  <c:v>17</c:v>
                </c:pt>
                <c:pt idx="19">
                  <c:v>23</c:v>
                </c:pt>
                <c:pt idx="20">
                  <c:v>23</c:v>
                </c:pt>
                <c:pt idx="21">
                  <c:v>23</c:v>
                </c:pt>
                <c:pt idx="22">
                  <c:v>28</c:v>
                </c:pt>
                <c:pt idx="23">
                  <c:v>32</c:v>
                </c:pt>
                <c:pt idx="24">
                  <c:v>34</c:v>
                </c:pt>
                <c:pt idx="25">
                  <c:v>40</c:v>
                </c:pt>
                <c:pt idx="26">
                  <c:v>42</c:v>
                </c:pt>
                <c:pt idx="27">
                  <c:v>42</c:v>
                </c:pt>
                <c:pt idx="28">
                  <c:v>43</c:v>
                </c:pt>
                <c:pt idx="29">
                  <c:v>43</c:v>
                </c:pt>
                <c:pt idx="30">
                  <c:v>43</c:v>
                </c:pt>
                <c:pt idx="31">
                  <c:v>43</c:v>
                </c:pt>
                <c:pt idx="32">
                  <c:v>44</c:v>
                </c:pt>
                <c:pt idx="33">
                  <c:v>45</c:v>
                </c:pt>
                <c:pt idx="34">
                  <c:v>45</c:v>
                </c:pt>
                <c:pt idx="35">
                  <c:v>45</c:v>
                </c:pt>
                <c:pt idx="36">
                  <c:v>46</c:v>
                </c:pt>
                <c:pt idx="37">
                  <c:v>47</c:v>
                </c:pt>
                <c:pt idx="38">
                  <c:v>48</c:v>
                </c:pt>
                <c:pt idx="39">
                  <c:v>49</c:v>
                </c:pt>
                <c:pt idx="40">
                  <c:v>51</c:v>
                </c:pt>
                <c:pt idx="41">
                  <c:v>51</c:v>
                </c:pt>
                <c:pt idx="42">
                  <c:v>51</c:v>
                </c:pt>
                <c:pt idx="43">
                  <c:v>55</c:v>
                </c:pt>
                <c:pt idx="44">
                  <c:v>58</c:v>
                </c:pt>
                <c:pt idx="45">
                  <c:v>60</c:v>
                </c:pt>
                <c:pt idx="46">
                  <c:v>71</c:v>
                </c:pt>
                <c:pt idx="47">
                  <c:v>76</c:v>
                </c:pt>
                <c:pt idx="48">
                  <c:v>81</c:v>
                </c:pt>
                <c:pt idx="49">
                  <c:v>83</c:v>
                </c:pt>
                <c:pt idx="50">
                  <c:v>86</c:v>
                </c:pt>
                <c:pt idx="51">
                  <c:v>91</c:v>
                </c:pt>
                <c:pt idx="52">
                  <c:v>101</c:v>
                </c:pt>
                <c:pt idx="53">
                  <c:v>112</c:v>
                </c:pt>
                <c:pt idx="54">
                  <c:v>131</c:v>
                </c:pt>
                <c:pt idx="55">
                  <c:v>134</c:v>
                </c:pt>
                <c:pt idx="56">
                  <c:v>134</c:v>
                </c:pt>
                <c:pt idx="57">
                  <c:v>158</c:v>
                </c:pt>
                <c:pt idx="58">
                  <c:v>167</c:v>
                </c:pt>
                <c:pt idx="59">
                  <c:v>184</c:v>
                </c:pt>
                <c:pt idx="60">
                  <c:v>207</c:v>
                </c:pt>
                <c:pt idx="61">
                  <c:v>254</c:v>
                </c:pt>
                <c:pt idx="62">
                  <c:v>260</c:v>
                </c:pt>
                <c:pt idx="63">
                  <c:v>261</c:v>
                </c:pt>
                <c:pt idx="64">
                  <c:v>306</c:v>
                </c:pt>
                <c:pt idx="65">
                  <c:v>380</c:v>
                </c:pt>
                <c:pt idx="66">
                  <c:v>682</c:v>
                </c:pt>
                <c:pt idx="67">
                  <c:v>1184</c:v>
                </c:pt>
                <c:pt idx="68">
                  <c:v>1735</c:v>
                </c:pt>
                <c:pt idx="69">
                  <c:v>2258</c:v>
                </c:pt>
                <c:pt idx="70">
                  <c:v>2913</c:v>
                </c:pt>
                <c:pt idx="71">
                  <c:v>3499</c:v>
                </c:pt>
                <c:pt idx="72">
                  <c:v>4390</c:v>
                </c:pt>
                <c:pt idx="73">
                  <c:v>5442</c:v>
                </c:pt>
                <c:pt idx="74">
                  <c:v>6844</c:v>
                </c:pt>
                <c:pt idx="75">
                  <c:v>8386</c:v>
                </c:pt>
                <c:pt idx="76">
                  <c:v>8844</c:v>
                </c:pt>
                <c:pt idx="77">
                  <c:v>9012</c:v>
                </c:pt>
                <c:pt idx="78">
                  <c:v>10322</c:v>
                </c:pt>
                <c:pt idx="79">
                  <c:v>12162</c:v>
                </c:pt>
                <c:pt idx="80">
                  <c:v>13935</c:v>
                </c:pt>
                <c:pt idx="81">
                  <c:v>16061</c:v>
                </c:pt>
                <c:pt idx="82">
                  <c:v>18328</c:v>
                </c:pt>
                <c:pt idx="83">
                  <c:v>18901</c:v>
                </c:pt>
                <c:pt idx="84">
                  <c:v>19026</c:v>
                </c:pt>
                <c:pt idx="85">
                  <c:v>20915</c:v>
                </c:pt>
                <c:pt idx="86">
                  <c:v>23078</c:v>
                </c:pt>
                <c:pt idx="87">
                  <c:v>25910</c:v>
                </c:pt>
                <c:pt idx="88">
                  <c:v>28727</c:v>
                </c:pt>
                <c:pt idx="89">
                  <c:v>31809</c:v>
                </c:pt>
                <c:pt idx="90">
                  <c:v>32460</c:v>
                </c:pt>
                <c:pt idx="91">
                  <c:v>33242</c:v>
                </c:pt>
                <c:pt idx="92">
                  <c:v>36377</c:v>
                </c:pt>
                <c:pt idx="93">
                  <c:v>40134</c:v>
                </c:pt>
                <c:pt idx="94">
                  <c:v>44508</c:v>
                </c:pt>
                <c:pt idx="95">
                  <c:v>49328</c:v>
                </c:pt>
                <c:pt idx="96">
                  <c:v>50450</c:v>
                </c:pt>
                <c:pt idx="97">
                  <c:v>50992</c:v>
                </c:pt>
                <c:pt idx="98">
                  <c:v>51231</c:v>
                </c:pt>
                <c:pt idx="99">
                  <c:v>51494</c:v>
                </c:pt>
                <c:pt idx="100">
                  <c:v>54599</c:v>
                </c:pt>
                <c:pt idx="101">
                  <c:v>59163</c:v>
                </c:pt>
                <c:pt idx="102">
                  <c:v>66152</c:v>
                </c:pt>
                <c:pt idx="103">
                  <c:v>73821</c:v>
                </c:pt>
                <c:pt idx="104">
                  <c:v>76516</c:v>
                </c:pt>
                <c:pt idx="105">
                  <c:v>77776</c:v>
                </c:pt>
                <c:pt idx="106">
                  <c:v>86906</c:v>
                </c:pt>
                <c:pt idx="107">
                  <c:v>95634</c:v>
                </c:pt>
                <c:pt idx="108">
                  <c:v>105370</c:v>
                </c:pt>
                <c:pt idx="109">
                  <c:v>116944</c:v>
                </c:pt>
                <c:pt idx="110">
                  <c:v>127924</c:v>
                </c:pt>
                <c:pt idx="111">
                  <c:v>130435</c:v>
                </c:pt>
                <c:pt idx="112">
                  <c:v>131947</c:v>
                </c:pt>
                <c:pt idx="113">
                  <c:v>141838</c:v>
                </c:pt>
                <c:pt idx="114">
                  <c:v>152345</c:v>
                </c:pt>
                <c:pt idx="115">
                  <c:v>163950</c:v>
                </c:pt>
                <c:pt idx="116">
                  <c:v>176505</c:v>
                </c:pt>
                <c:pt idx="117">
                  <c:v>186933</c:v>
                </c:pt>
                <c:pt idx="118">
                  <c:v>190085</c:v>
                </c:pt>
                <c:pt idx="119">
                  <c:v>192535</c:v>
                </c:pt>
                <c:pt idx="120">
                  <c:v>200697</c:v>
                </c:pt>
                <c:pt idx="121">
                  <c:v>208083</c:v>
                </c:pt>
                <c:pt idx="122">
                  <c:v>216468</c:v>
                </c:pt>
                <c:pt idx="123">
                  <c:v>224674</c:v>
                </c:pt>
                <c:pt idx="124">
                  <c:v>232187</c:v>
                </c:pt>
                <c:pt idx="125">
                  <c:v>234368</c:v>
                </c:pt>
                <c:pt idx="126">
                  <c:v>235937</c:v>
                </c:pt>
                <c:pt idx="127">
                  <c:v>242085</c:v>
                </c:pt>
                <c:pt idx="128">
                  <c:v>248445</c:v>
                </c:pt>
                <c:pt idx="129">
                  <c:v>255452</c:v>
                </c:pt>
                <c:pt idx="130">
                  <c:v>262655</c:v>
                </c:pt>
                <c:pt idx="131">
                  <c:v>269585</c:v>
                </c:pt>
                <c:pt idx="132">
                  <c:v>271807</c:v>
                </c:pt>
                <c:pt idx="133">
                  <c:v>273338</c:v>
                </c:pt>
                <c:pt idx="134">
                  <c:v>278149</c:v>
                </c:pt>
                <c:pt idx="135">
                  <c:v>283280</c:v>
                </c:pt>
                <c:pt idx="136">
                  <c:v>288076</c:v>
                </c:pt>
                <c:pt idx="137">
                  <c:v>292791</c:v>
                </c:pt>
                <c:pt idx="138">
                  <c:v>296910</c:v>
                </c:pt>
                <c:pt idx="139">
                  <c:v>298059</c:v>
                </c:pt>
                <c:pt idx="140">
                  <c:v>298905</c:v>
                </c:pt>
                <c:pt idx="141">
                  <c:v>301919</c:v>
                </c:pt>
                <c:pt idx="142">
                  <c:v>305639</c:v>
                </c:pt>
                <c:pt idx="143">
                  <c:v>309906</c:v>
                </c:pt>
                <c:pt idx="144">
                  <c:v>315556</c:v>
                </c:pt>
                <c:pt idx="145">
                  <c:v>320787</c:v>
                </c:pt>
                <c:pt idx="146">
                  <c:v>323037</c:v>
                </c:pt>
                <c:pt idx="147">
                  <c:v>324529</c:v>
                </c:pt>
                <c:pt idx="148">
                  <c:v>331520</c:v>
                </c:pt>
                <c:pt idx="149">
                  <c:v>337549</c:v>
                </c:pt>
                <c:pt idx="150">
                  <c:v>344516</c:v>
                </c:pt>
                <c:pt idx="151">
                  <c:v>353582</c:v>
                </c:pt>
                <c:pt idx="152">
                  <c:v>362368</c:v>
                </c:pt>
                <c:pt idx="153">
                  <c:v>364632</c:v>
                </c:pt>
                <c:pt idx="154">
                  <c:v>366295</c:v>
                </c:pt>
                <c:pt idx="155">
                  <c:v>374931</c:v>
                </c:pt>
                <c:pt idx="156">
                  <c:v>383747</c:v>
                </c:pt>
                <c:pt idx="157">
                  <c:v>393722</c:v>
                </c:pt>
                <c:pt idx="158">
                  <c:v>403842</c:v>
                </c:pt>
                <c:pt idx="159">
                  <c:v>413360</c:v>
                </c:pt>
                <c:pt idx="160">
                  <c:v>416302</c:v>
                </c:pt>
                <c:pt idx="161">
                  <c:v>418034</c:v>
                </c:pt>
                <c:pt idx="162">
                  <c:v>425761</c:v>
                </c:pt>
                <c:pt idx="163">
                  <c:v>432557</c:v>
                </c:pt>
                <c:pt idx="164">
                  <c:v>440357</c:v>
                </c:pt>
                <c:pt idx="165">
                  <c:v>447515</c:v>
                </c:pt>
                <c:pt idx="166">
                  <c:v>455182</c:v>
                </c:pt>
                <c:pt idx="167">
                  <c:v>457118</c:v>
                </c:pt>
                <c:pt idx="168">
                  <c:v>458462</c:v>
                </c:pt>
                <c:pt idx="169">
                  <c:v>465379</c:v>
                </c:pt>
                <c:pt idx="170">
                  <c:v>471824</c:v>
                </c:pt>
                <c:pt idx="171">
                  <c:v>478569</c:v>
                </c:pt>
                <c:pt idx="172">
                  <c:v>484682</c:v>
                </c:pt>
                <c:pt idx="173">
                  <c:v>490587</c:v>
                </c:pt>
                <c:pt idx="174">
                  <c:v>492346</c:v>
                </c:pt>
                <c:pt idx="175">
                  <c:v>493660</c:v>
                </c:pt>
                <c:pt idx="176">
                  <c:v>498862</c:v>
                </c:pt>
                <c:pt idx="177">
                  <c:v>504353</c:v>
                </c:pt>
                <c:pt idx="178">
                  <c:v>509582</c:v>
                </c:pt>
                <c:pt idx="179">
                  <c:v>514897</c:v>
                </c:pt>
                <c:pt idx="180">
                  <c:v>519297</c:v>
                </c:pt>
                <c:pt idx="181">
                  <c:v>520530</c:v>
                </c:pt>
                <c:pt idx="182">
                  <c:v>521328</c:v>
                </c:pt>
                <c:pt idx="183">
                  <c:v>525455</c:v>
                </c:pt>
                <c:pt idx="184">
                  <c:v>529985</c:v>
                </c:pt>
                <c:pt idx="185">
                  <c:v>534650</c:v>
                </c:pt>
                <c:pt idx="186">
                  <c:v>538673</c:v>
                </c:pt>
                <c:pt idx="187">
                  <c:v>542227</c:v>
                </c:pt>
                <c:pt idx="188">
                  <c:v>542892</c:v>
                </c:pt>
                <c:pt idx="189">
                  <c:v>543285</c:v>
                </c:pt>
                <c:pt idx="190">
                  <c:v>543626</c:v>
                </c:pt>
                <c:pt idx="191">
                  <c:v>544066</c:v>
                </c:pt>
                <c:pt idx="192">
                  <c:v>547099</c:v>
                </c:pt>
                <c:pt idx="193">
                  <c:v>549866</c:v>
                </c:pt>
                <c:pt idx="194">
                  <c:v>552356</c:v>
                </c:pt>
                <c:pt idx="195">
                  <c:v>552620</c:v>
                </c:pt>
                <c:pt idx="196">
                  <c:v>5528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Pracovníci ve školství a akademičtí pracovníci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GP$1</c:f>
              <c:strCache>
                <c:ptCount val="197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  <c:pt idx="176">
                  <c:v>21-VI.</c:v>
                </c:pt>
                <c:pt idx="177">
                  <c:v>22-VI.</c:v>
                </c:pt>
                <c:pt idx="178">
                  <c:v>23-VI.</c:v>
                </c:pt>
                <c:pt idx="179">
                  <c:v>24-VI.</c:v>
                </c:pt>
                <c:pt idx="180">
                  <c:v>25-VI.</c:v>
                </c:pt>
                <c:pt idx="181">
                  <c:v>26-VI.</c:v>
                </c:pt>
                <c:pt idx="182">
                  <c:v>27-VI.</c:v>
                </c:pt>
                <c:pt idx="183">
                  <c:v>28-VI.</c:v>
                </c:pt>
                <c:pt idx="184">
                  <c:v>29-VI.</c:v>
                </c:pt>
                <c:pt idx="185">
                  <c:v>30-VI.</c:v>
                </c:pt>
                <c:pt idx="186">
                  <c:v>1-VII.</c:v>
                </c:pt>
                <c:pt idx="187">
                  <c:v>2-VII.</c:v>
                </c:pt>
                <c:pt idx="188">
                  <c:v>3-VII.</c:v>
                </c:pt>
                <c:pt idx="189">
                  <c:v>4-VII.</c:v>
                </c:pt>
                <c:pt idx="190">
                  <c:v>5-VII.</c:v>
                </c:pt>
                <c:pt idx="191">
                  <c:v>6-VII.</c:v>
                </c:pt>
                <c:pt idx="192">
                  <c:v>7-VII.</c:v>
                </c:pt>
                <c:pt idx="193">
                  <c:v>8-VII.</c:v>
                </c:pt>
                <c:pt idx="194">
                  <c:v>9-VII.</c:v>
                </c:pt>
                <c:pt idx="195">
                  <c:v>10-VII.</c:v>
                </c:pt>
                <c:pt idx="196">
                  <c:v>11-VII.</c:v>
                </c:pt>
              </c:strCache>
            </c:strRef>
          </c:cat>
          <c:val>
            <c:numRef>
              <c:f>List1!$B$4:$GP$4</c:f>
              <c:numCache>
                <c:formatCode>General</c:formatCode>
                <c:ptCount val="197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4</c:v>
                </c:pt>
                <c:pt idx="18">
                  <c:v>6</c:v>
                </c:pt>
                <c:pt idx="19">
                  <c:v>6</c:v>
                </c:pt>
                <c:pt idx="20">
                  <c:v>6</c:v>
                </c:pt>
                <c:pt idx="21">
                  <c:v>6</c:v>
                </c:pt>
                <c:pt idx="22">
                  <c:v>6</c:v>
                </c:pt>
                <c:pt idx="23">
                  <c:v>7</c:v>
                </c:pt>
                <c:pt idx="24">
                  <c:v>7</c:v>
                </c:pt>
                <c:pt idx="25">
                  <c:v>9</c:v>
                </c:pt>
                <c:pt idx="26">
                  <c:v>9</c:v>
                </c:pt>
                <c:pt idx="27">
                  <c:v>9</c:v>
                </c:pt>
                <c:pt idx="28">
                  <c:v>9</c:v>
                </c:pt>
                <c:pt idx="29">
                  <c:v>9</c:v>
                </c:pt>
                <c:pt idx="30">
                  <c:v>9</c:v>
                </c:pt>
                <c:pt idx="31">
                  <c:v>9</c:v>
                </c:pt>
                <c:pt idx="32">
                  <c:v>9</c:v>
                </c:pt>
                <c:pt idx="33">
                  <c:v>10</c:v>
                </c:pt>
                <c:pt idx="34">
                  <c:v>10</c:v>
                </c:pt>
                <c:pt idx="35">
                  <c:v>10</c:v>
                </c:pt>
                <c:pt idx="36">
                  <c:v>10</c:v>
                </c:pt>
                <c:pt idx="37">
                  <c:v>13</c:v>
                </c:pt>
                <c:pt idx="38">
                  <c:v>14</c:v>
                </c:pt>
                <c:pt idx="39">
                  <c:v>14</c:v>
                </c:pt>
                <c:pt idx="40">
                  <c:v>14</c:v>
                </c:pt>
                <c:pt idx="41">
                  <c:v>14</c:v>
                </c:pt>
                <c:pt idx="42">
                  <c:v>14</c:v>
                </c:pt>
                <c:pt idx="43">
                  <c:v>14</c:v>
                </c:pt>
                <c:pt idx="44">
                  <c:v>16</c:v>
                </c:pt>
                <c:pt idx="45">
                  <c:v>17</c:v>
                </c:pt>
                <c:pt idx="46">
                  <c:v>18</c:v>
                </c:pt>
                <c:pt idx="47">
                  <c:v>20</c:v>
                </c:pt>
                <c:pt idx="48">
                  <c:v>22</c:v>
                </c:pt>
                <c:pt idx="49">
                  <c:v>22</c:v>
                </c:pt>
                <c:pt idx="50">
                  <c:v>22</c:v>
                </c:pt>
                <c:pt idx="51">
                  <c:v>23</c:v>
                </c:pt>
                <c:pt idx="52">
                  <c:v>24</c:v>
                </c:pt>
                <c:pt idx="53">
                  <c:v>28</c:v>
                </c:pt>
                <c:pt idx="54">
                  <c:v>34</c:v>
                </c:pt>
                <c:pt idx="55">
                  <c:v>37</c:v>
                </c:pt>
                <c:pt idx="56">
                  <c:v>37</c:v>
                </c:pt>
                <c:pt idx="57">
                  <c:v>39</c:v>
                </c:pt>
                <c:pt idx="58">
                  <c:v>45</c:v>
                </c:pt>
                <c:pt idx="59">
                  <c:v>54</c:v>
                </c:pt>
                <c:pt idx="60">
                  <c:v>101</c:v>
                </c:pt>
                <c:pt idx="61">
                  <c:v>159</c:v>
                </c:pt>
                <c:pt idx="62">
                  <c:v>199</c:v>
                </c:pt>
                <c:pt idx="63">
                  <c:v>396</c:v>
                </c:pt>
                <c:pt idx="64">
                  <c:v>3924</c:v>
                </c:pt>
                <c:pt idx="65">
                  <c:v>10821</c:v>
                </c:pt>
                <c:pt idx="66">
                  <c:v>16962</c:v>
                </c:pt>
                <c:pt idx="67">
                  <c:v>23793</c:v>
                </c:pt>
                <c:pt idx="68">
                  <c:v>28597</c:v>
                </c:pt>
                <c:pt idx="69">
                  <c:v>31217</c:v>
                </c:pt>
                <c:pt idx="70">
                  <c:v>33809</c:v>
                </c:pt>
                <c:pt idx="71">
                  <c:v>39682</c:v>
                </c:pt>
                <c:pt idx="72">
                  <c:v>46623</c:v>
                </c:pt>
                <c:pt idx="73">
                  <c:v>52595</c:v>
                </c:pt>
                <c:pt idx="74">
                  <c:v>58286</c:v>
                </c:pt>
                <c:pt idx="75">
                  <c:v>62786</c:v>
                </c:pt>
                <c:pt idx="76">
                  <c:v>65540</c:v>
                </c:pt>
                <c:pt idx="77">
                  <c:v>67245</c:v>
                </c:pt>
                <c:pt idx="78">
                  <c:v>70085</c:v>
                </c:pt>
                <c:pt idx="79">
                  <c:v>75495</c:v>
                </c:pt>
                <c:pt idx="80">
                  <c:v>79778</c:v>
                </c:pt>
                <c:pt idx="81">
                  <c:v>83901</c:v>
                </c:pt>
                <c:pt idx="82">
                  <c:v>88658</c:v>
                </c:pt>
                <c:pt idx="83">
                  <c:v>90971</c:v>
                </c:pt>
                <c:pt idx="84">
                  <c:v>91706</c:v>
                </c:pt>
                <c:pt idx="85">
                  <c:v>96624</c:v>
                </c:pt>
                <c:pt idx="86">
                  <c:v>101290</c:v>
                </c:pt>
                <c:pt idx="87">
                  <c:v>105899</c:v>
                </c:pt>
                <c:pt idx="88">
                  <c:v>110606</c:v>
                </c:pt>
                <c:pt idx="89">
                  <c:v>116142</c:v>
                </c:pt>
                <c:pt idx="90">
                  <c:v>117673</c:v>
                </c:pt>
                <c:pt idx="91">
                  <c:v>119317</c:v>
                </c:pt>
                <c:pt idx="92">
                  <c:v>125515</c:v>
                </c:pt>
                <c:pt idx="93">
                  <c:v>133376</c:v>
                </c:pt>
                <c:pt idx="94">
                  <c:v>139939</c:v>
                </c:pt>
                <c:pt idx="95">
                  <c:v>147161</c:v>
                </c:pt>
                <c:pt idx="96">
                  <c:v>149643</c:v>
                </c:pt>
                <c:pt idx="97">
                  <c:v>151648</c:v>
                </c:pt>
                <c:pt idx="98">
                  <c:v>153449</c:v>
                </c:pt>
                <c:pt idx="99">
                  <c:v>154369</c:v>
                </c:pt>
                <c:pt idx="100">
                  <c:v>160122</c:v>
                </c:pt>
                <c:pt idx="101">
                  <c:v>166372</c:v>
                </c:pt>
                <c:pt idx="102">
                  <c:v>172681</c:v>
                </c:pt>
                <c:pt idx="103">
                  <c:v>180715</c:v>
                </c:pt>
                <c:pt idx="104">
                  <c:v>184946</c:v>
                </c:pt>
                <c:pt idx="105">
                  <c:v>187401</c:v>
                </c:pt>
                <c:pt idx="106">
                  <c:v>193870</c:v>
                </c:pt>
                <c:pt idx="107">
                  <c:v>201099</c:v>
                </c:pt>
                <c:pt idx="108">
                  <c:v>207324</c:v>
                </c:pt>
                <c:pt idx="109">
                  <c:v>213608</c:v>
                </c:pt>
                <c:pt idx="110">
                  <c:v>223685</c:v>
                </c:pt>
                <c:pt idx="111">
                  <c:v>227749</c:v>
                </c:pt>
                <c:pt idx="112">
                  <c:v>230694</c:v>
                </c:pt>
                <c:pt idx="113">
                  <c:v>235419</c:v>
                </c:pt>
                <c:pt idx="114">
                  <c:v>240323</c:v>
                </c:pt>
                <c:pt idx="115">
                  <c:v>244668</c:v>
                </c:pt>
                <c:pt idx="116">
                  <c:v>249025</c:v>
                </c:pt>
                <c:pt idx="117">
                  <c:v>255079</c:v>
                </c:pt>
                <c:pt idx="118">
                  <c:v>256268</c:v>
                </c:pt>
                <c:pt idx="119">
                  <c:v>257446</c:v>
                </c:pt>
                <c:pt idx="120">
                  <c:v>259994</c:v>
                </c:pt>
                <c:pt idx="121">
                  <c:v>263284</c:v>
                </c:pt>
                <c:pt idx="122">
                  <c:v>266616</c:v>
                </c:pt>
                <c:pt idx="123">
                  <c:v>269752</c:v>
                </c:pt>
                <c:pt idx="124">
                  <c:v>272616</c:v>
                </c:pt>
                <c:pt idx="125">
                  <c:v>273511</c:v>
                </c:pt>
                <c:pt idx="126">
                  <c:v>274303</c:v>
                </c:pt>
                <c:pt idx="127">
                  <c:v>275959</c:v>
                </c:pt>
                <c:pt idx="128">
                  <c:v>278011</c:v>
                </c:pt>
                <c:pt idx="129">
                  <c:v>280398</c:v>
                </c:pt>
                <c:pt idx="130">
                  <c:v>282803</c:v>
                </c:pt>
                <c:pt idx="131">
                  <c:v>285803</c:v>
                </c:pt>
                <c:pt idx="132">
                  <c:v>287074</c:v>
                </c:pt>
                <c:pt idx="133">
                  <c:v>288242</c:v>
                </c:pt>
                <c:pt idx="134">
                  <c:v>290223</c:v>
                </c:pt>
                <c:pt idx="135">
                  <c:v>291944</c:v>
                </c:pt>
                <c:pt idx="136">
                  <c:v>293278</c:v>
                </c:pt>
                <c:pt idx="137">
                  <c:v>294614</c:v>
                </c:pt>
                <c:pt idx="138">
                  <c:v>295956</c:v>
                </c:pt>
                <c:pt idx="139">
                  <c:v>296741</c:v>
                </c:pt>
                <c:pt idx="140">
                  <c:v>297108</c:v>
                </c:pt>
                <c:pt idx="141">
                  <c:v>297929</c:v>
                </c:pt>
                <c:pt idx="142">
                  <c:v>299410</c:v>
                </c:pt>
                <c:pt idx="143">
                  <c:v>301178</c:v>
                </c:pt>
                <c:pt idx="144">
                  <c:v>303186</c:v>
                </c:pt>
                <c:pt idx="145">
                  <c:v>306748</c:v>
                </c:pt>
                <c:pt idx="146">
                  <c:v>308507</c:v>
                </c:pt>
                <c:pt idx="147">
                  <c:v>309828</c:v>
                </c:pt>
                <c:pt idx="148">
                  <c:v>313270</c:v>
                </c:pt>
                <c:pt idx="149">
                  <c:v>318293</c:v>
                </c:pt>
                <c:pt idx="150">
                  <c:v>322930</c:v>
                </c:pt>
                <c:pt idx="151">
                  <c:v>327748</c:v>
                </c:pt>
                <c:pt idx="152">
                  <c:v>334636</c:v>
                </c:pt>
                <c:pt idx="153">
                  <c:v>338047</c:v>
                </c:pt>
                <c:pt idx="154">
                  <c:v>341031</c:v>
                </c:pt>
                <c:pt idx="155">
                  <c:v>345517</c:v>
                </c:pt>
                <c:pt idx="156">
                  <c:v>350656</c:v>
                </c:pt>
                <c:pt idx="157">
                  <c:v>354106</c:v>
                </c:pt>
                <c:pt idx="158">
                  <c:v>357415</c:v>
                </c:pt>
                <c:pt idx="159">
                  <c:v>362838</c:v>
                </c:pt>
                <c:pt idx="160">
                  <c:v>364051</c:v>
                </c:pt>
                <c:pt idx="161">
                  <c:v>364935</c:v>
                </c:pt>
                <c:pt idx="162">
                  <c:v>367591</c:v>
                </c:pt>
                <c:pt idx="163">
                  <c:v>369537</c:v>
                </c:pt>
                <c:pt idx="164">
                  <c:v>371210</c:v>
                </c:pt>
                <c:pt idx="165">
                  <c:v>372943</c:v>
                </c:pt>
                <c:pt idx="166">
                  <c:v>375279</c:v>
                </c:pt>
                <c:pt idx="167">
                  <c:v>375929</c:v>
                </c:pt>
                <c:pt idx="168">
                  <c:v>376342</c:v>
                </c:pt>
                <c:pt idx="169">
                  <c:v>377729</c:v>
                </c:pt>
                <c:pt idx="170">
                  <c:v>379029</c:v>
                </c:pt>
                <c:pt idx="171">
                  <c:v>380935</c:v>
                </c:pt>
                <c:pt idx="172">
                  <c:v>382646</c:v>
                </c:pt>
                <c:pt idx="173">
                  <c:v>384622</c:v>
                </c:pt>
                <c:pt idx="174">
                  <c:v>385657</c:v>
                </c:pt>
                <c:pt idx="175">
                  <c:v>386529</c:v>
                </c:pt>
                <c:pt idx="176">
                  <c:v>388241</c:v>
                </c:pt>
                <c:pt idx="177">
                  <c:v>389840</c:v>
                </c:pt>
                <c:pt idx="178">
                  <c:v>390986</c:v>
                </c:pt>
                <c:pt idx="179">
                  <c:v>392107</c:v>
                </c:pt>
                <c:pt idx="180">
                  <c:v>393125</c:v>
                </c:pt>
                <c:pt idx="181">
                  <c:v>394294</c:v>
                </c:pt>
                <c:pt idx="182">
                  <c:v>394639</c:v>
                </c:pt>
                <c:pt idx="183">
                  <c:v>395374</c:v>
                </c:pt>
                <c:pt idx="184">
                  <c:v>396134</c:v>
                </c:pt>
                <c:pt idx="185">
                  <c:v>397105</c:v>
                </c:pt>
                <c:pt idx="186">
                  <c:v>397773</c:v>
                </c:pt>
                <c:pt idx="187">
                  <c:v>398402</c:v>
                </c:pt>
                <c:pt idx="188">
                  <c:v>398585</c:v>
                </c:pt>
                <c:pt idx="189">
                  <c:v>398732</c:v>
                </c:pt>
                <c:pt idx="190">
                  <c:v>398919</c:v>
                </c:pt>
                <c:pt idx="191">
                  <c:v>399071</c:v>
                </c:pt>
                <c:pt idx="192">
                  <c:v>399441</c:v>
                </c:pt>
                <c:pt idx="193">
                  <c:v>399694</c:v>
                </c:pt>
                <c:pt idx="194">
                  <c:v>399909</c:v>
                </c:pt>
                <c:pt idx="195">
                  <c:v>399983</c:v>
                </c:pt>
                <c:pt idx="196">
                  <c:v>4000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Pracovníci a klienti v sociálních službách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B$1:$GP$1</c:f>
              <c:strCache>
                <c:ptCount val="197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  <c:pt idx="176">
                  <c:v>21-VI.</c:v>
                </c:pt>
                <c:pt idx="177">
                  <c:v>22-VI.</c:v>
                </c:pt>
                <c:pt idx="178">
                  <c:v>23-VI.</c:v>
                </c:pt>
                <c:pt idx="179">
                  <c:v>24-VI.</c:v>
                </c:pt>
                <c:pt idx="180">
                  <c:v>25-VI.</c:v>
                </c:pt>
                <c:pt idx="181">
                  <c:v>26-VI.</c:v>
                </c:pt>
                <c:pt idx="182">
                  <c:v>27-VI.</c:v>
                </c:pt>
                <c:pt idx="183">
                  <c:v>28-VI.</c:v>
                </c:pt>
                <c:pt idx="184">
                  <c:v>29-VI.</c:v>
                </c:pt>
                <c:pt idx="185">
                  <c:v>30-VI.</c:v>
                </c:pt>
                <c:pt idx="186">
                  <c:v>1-VII.</c:v>
                </c:pt>
                <c:pt idx="187">
                  <c:v>2-VII.</c:v>
                </c:pt>
                <c:pt idx="188">
                  <c:v>3-VII.</c:v>
                </c:pt>
                <c:pt idx="189">
                  <c:v>4-VII.</c:v>
                </c:pt>
                <c:pt idx="190">
                  <c:v>5-VII.</c:v>
                </c:pt>
                <c:pt idx="191">
                  <c:v>6-VII.</c:v>
                </c:pt>
                <c:pt idx="192">
                  <c:v>7-VII.</c:v>
                </c:pt>
                <c:pt idx="193">
                  <c:v>8-VII.</c:v>
                </c:pt>
                <c:pt idx="194">
                  <c:v>9-VII.</c:v>
                </c:pt>
                <c:pt idx="195">
                  <c:v>10-VII.</c:v>
                </c:pt>
                <c:pt idx="196">
                  <c:v>11-VII.</c:v>
                </c:pt>
              </c:strCache>
            </c:strRef>
          </c:cat>
          <c:val>
            <c:numRef>
              <c:f>List1!$B$5:$GP$5</c:f>
              <c:numCache>
                <c:formatCode>General</c:formatCode>
                <c:ptCount val="197"/>
                <c:pt idx="0">
                  <c:v>10</c:v>
                </c:pt>
                <c:pt idx="1">
                  <c:v>85</c:v>
                </c:pt>
                <c:pt idx="2">
                  <c:v>396</c:v>
                </c:pt>
                <c:pt idx="3">
                  <c:v>687</c:v>
                </c:pt>
                <c:pt idx="4">
                  <c:v>882</c:v>
                </c:pt>
                <c:pt idx="5">
                  <c:v>887</c:v>
                </c:pt>
                <c:pt idx="6">
                  <c:v>887</c:v>
                </c:pt>
                <c:pt idx="7">
                  <c:v>889</c:v>
                </c:pt>
                <c:pt idx="8">
                  <c:v>892</c:v>
                </c:pt>
                <c:pt idx="9">
                  <c:v>904</c:v>
                </c:pt>
                <c:pt idx="10">
                  <c:v>959</c:v>
                </c:pt>
                <c:pt idx="11">
                  <c:v>1574</c:v>
                </c:pt>
                <c:pt idx="12">
                  <c:v>3168</c:v>
                </c:pt>
                <c:pt idx="13">
                  <c:v>3471</c:v>
                </c:pt>
                <c:pt idx="14">
                  <c:v>3549</c:v>
                </c:pt>
                <c:pt idx="15">
                  <c:v>4464</c:v>
                </c:pt>
                <c:pt idx="16">
                  <c:v>6407</c:v>
                </c:pt>
                <c:pt idx="17">
                  <c:v>9277</c:v>
                </c:pt>
                <c:pt idx="18">
                  <c:v>13293</c:v>
                </c:pt>
                <c:pt idx="19">
                  <c:v>17138</c:v>
                </c:pt>
                <c:pt idx="20">
                  <c:v>17753</c:v>
                </c:pt>
                <c:pt idx="21">
                  <c:v>17995</c:v>
                </c:pt>
                <c:pt idx="22">
                  <c:v>20721</c:v>
                </c:pt>
                <c:pt idx="23">
                  <c:v>24246</c:v>
                </c:pt>
                <c:pt idx="24">
                  <c:v>28178</c:v>
                </c:pt>
                <c:pt idx="25">
                  <c:v>31980</c:v>
                </c:pt>
                <c:pt idx="26">
                  <c:v>35112</c:v>
                </c:pt>
                <c:pt idx="27">
                  <c:v>35725</c:v>
                </c:pt>
                <c:pt idx="28">
                  <c:v>35851</c:v>
                </c:pt>
                <c:pt idx="29">
                  <c:v>37765</c:v>
                </c:pt>
                <c:pt idx="30">
                  <c:v>40416</c:v>
                </c:pt>
                <c:pt idx="31">
                  <c:v>42792</c:v>
                </c:pt>
                <c:pt idx="32">
                  <c:v>44585</c:v>
                </c:pt>
                <c:pt idx="33">
                  <c:v>46429</c:v>
                </c:pt>
                <c:pt idx="34">
                  <c:v>46608</c:v>
                </c:pt>
                <c:pt idx="35">
                  <c:v>46671</c:v>
                </c:pt>
                <c:pt idx="36">
                  <c:v>47962</c:v>
                </c:pt>
                <c:pt idx="37">
                  <c:v>49631</c:v>
                </c:pt>
                <c:pt idx="38">
                  <c:v>51823</c:v>
                </c:pt>
                <c:pt idx="39">
                  <c:v>55185</c:v>
                </c:pt>
                <c:pt idx="40">
                  <c:v>58161</c:v>
                </c:pt>
                <c:pt idx="41">
                  <c:v>58203</c:v>
                </c:pt>
                <c:pt idx="42">
                  <c:v>58381</c:v>
                </c:pt>
                <c:pt idx="43">
                  <c:v>61132</c:v>
                </c:pt>
                <c:pt idx="44">
                  <c:v>64953</c:v>
                </c:pt>
                <c:pt idx="45">
                  <c:v>69760</c:v>
                </c:pt>
                <c:pt idx="46">
                  <c:v>75210</c:v>
                </c:pt>
                <c:pt idx="47">
                  <c:v>80243</c:v>
                </c:pt>
                <c:pt idx="48">
                  <c:v>80955</c:v>
                </c:pt>
                <c:pt idx="49">
                  <c:v>81087</c:v>
                </c:pt>
                <c:pt idx="50">
                  <c:v>83402</c:v>
                </c:pt>
                <c:pt idx="51">
                  <c:v>87668</c:v>
                </c:pt>
                <c:pt idx="52">
                  <c:v>92191</c:v>
                </c:pt>
                <c:pt idx="53">
                  <c:v>96765</c:v>
                </c:pt>
                <c:pt idx="54">
                  <c:v>100418</c:v>
                </c:pt>
                <c:pt idx="55">
                  <c:v>100580</c:v>
                </c:pt>
                <c:pt idx="56">
                  <c:v>100584</c:v>
                </c:pt>
                <c:pt idx="57">
                  <c:v>103041</c:v>
                </c:pt>
                <c:pt idx="58">
                  <c:v>105979</c:v>
                </c:pt>
                <c:pt idx="59">
                  <c:v>109295</c:v>
                </c:pt>
                <c:pt idx="60">
                  <c:v>113530</c:v>
                </c:pt>
                <c:pt idx="61">
                  <c:v>116960</c:v>
                </c:pt>
                <c:pt idx="62">
                  <c:v>117125</c:v>
                </c:pt>
                <c:pt idx="63">
                  <c:v>117230</c:v>
                </c:pt>
                <c:pt idx="64">
                  <c:v>118937</c:v>
                </c:pt>
                <c:pt idx="65">
                  <c:v>121060</c:v>
                </c:pt>
                <c:pt idx="66">
                  <c:v>124198</c:v>
                </c:pt>
                <c:pt idx="67">
                  <c:v>127171</c:v>
                </c:pt>
                <c:pt idx="68">
                  <c:v>130261</c:v>
                </c:pt>
                <c:pt idx="69">
                  <c:v>130682</c:v>
                </c:pt>
                <c:pt idx="70">
                  <c:v>130982</c:v>
                </c:pt>
                <c:pt idx="71">
                  <c:v>132173</c:v>
                </c:pt>
                <c:pt idx="72">
                  <c:v>134691</c:v>
                </c:pt>
                <c:pt idx="73">
                  <c:v>137831</c:v>
                </c:pt>
                <c:pt idx="74">
                  <c:v>141608</c:v>
                </c:pt>
                <c:pt idx="75">
                  <c:v>144771</c:v>
                </c:pt>
                <c:pt idx="76">
                  <c:v>145197</c:v>
                </c:pt>
                <c:pt idx="77">
                  <c:v>145305</c:v>
                </c:pt>
                <c:pt idx="78">
                  <c:v>147659</c:v>
                </c:pt>
                <c:pt idx="79">
                  <c:v>150766</c:v>
                </c:pt>
                <c:pt idx="80">
                  <c:v>153253</c:v>
                </c:pt>
                <c:pt idx="81">
                  <c:v>155913</c:v>
                </c:pt>
                <c:pt idx="82">
                  <c:v>158843</c:v>
                </c:pt>
                <c:pt idx="83">
                  <c:v>158899</c:v>
                </c:pt>
                <c:pt idx="84">
                  <c:v>158915</c:v>
                </c:pt>
                <c:pt idx="85">
                  <c:v>159963</c:v>
                </c:pt>
                <c:pt idx="86">
                  <c:v>161552</c:v>
                </c:pt>
                <c:pt idx="87">
                  <c:v>163808</c:v>
                </c:pt>
                <c:pt idx="88">
                  <c:v>165989</c:v>
                </c:pt>
                <c:pt idx="89">
                  <c:v>168592</c:v>
                </c:pt>
                <c:pt idx="90">
                  <c:v>168809</c:v>
                </c:pt>
                <c:pt idx="91">
                  <c:v>168976</c:v>
                </c:pt>
                <c:pt idx="92">
                  <c:v>169945</c:v>
                </c:pt>
                <c:pt idx="93">
                  <c:v>171416</c:v>
                </c:pt>
                <c:pt idx="94">
                  <c:v>173653</c:v>
                </c:pt>
                <c:pt idx="95">
                  <c:v>176135</c:v>
                </c:pt>
                <c:pt idx="96">
                  <c:v>176411</c:v>
                </c:pt>
                <c:pt idx="97">
                  <c:v>176560</c:v>
                </c:pt>
                <c:pt idx="98">
                  <c:v>176606</c:v>
                </c:pt>
                <c:pt idx="99">
                  <c:v>176638</c:v>
                </c:pt>
                <c:pt idx="100">
                  <c:v>178386</c:v>
                </c:pt>
                <c:pt idx="101">
                  <c:v>180134</c:v>
                </c:pt>
                <c:pt idx="102">
                  <c:v>182727</c:v>
                </c:pt>
                <c:pt idx="103">
                  <c:v>184489</c:v>
                </c:pt>
                <c:pt idx="104">
                  <c:v>184611</c:v>
                </c:pt>
                <c:pt idx="105">
                  <c:v>184722</c:v>
                </c:pt>
                <c:pt idx="106">
                  <c:v>185619</c:v>
                </c:pt>
                <c:pt idx="107">
                  <c:v>187291</c:v>
                </c:pt>
                <c:pt idx="108">
                  <c:v>188681</c:v>
                </c:pt>
                <c:pt idx="109">
                  <c:v>190789</c:v>
                </c:pt>
                <c:pt idx="110">
                  <c:v>194033</c:v>
                </c:pt>
                <c:pt idx="111">
                  <c:v>194397</c:v>
                </c:pt>
                <c:pt idx="112">
                  <c:v>194631</c:v>
                </c:pt>
                <c:pt idx="113">
                  <c:v>195995</c:v>
                </c:pt>
                <c:pt idx="114">
                  <c:v>197373</c:v>
                </c:pt>
                <c:pt idx="115">
                  <c:v>199024</c:v>
                </c:pt>
                <c:pt idx="116">
                  <c:v>201245</c:v>
                </c:pt>
                <c:pt idx="117">
                  <c:v>203192</c:v>
                </c:pt>
                <c:pt idx="118">
                  <c:v>203580</c:v>
                </c:pt>
                <c:pt idx="119">
                  <c:v>204234</c:v>
                </c:pt>
                <c:pt idx="120">
                  <c:v>205100</c:v>
                </c:pt>
                <c:pt idx="121">
                  <c:v>206285</c:v>
                </c:pt>
                <c:pt idx="122">
                  <c:v>207401</c:v>
                </c:pt>
                <c:pt idx="123">
                  <c:v>208504</c:v>
                </c:pt>
                <c:pt idx="124">
                  <c:v>209441</c:v>
                </c:pt>
                <c:pt idx="125">
                  <c:v>209535</c:v>
                </c:pt>
                <c:pt idx="126">
                  <c:v>209649</c:v>
                </c:pt>
                <c:pt idx="127">
                  <c:v>210196</c:v>
                </c:pt>
                <c:pt idx="128">
                  <c:v>211130</c:v>
                </c:pt>
                <c:pt idx="129">
                  <c:v>211710</c:v>
                </c:pt>
                <c:pt idx="130">
                  <c:v>213417</c:v>
                </c:pt>
                <c:pt idx="131">
                  <c:v>214453</c:v>
                </c:pt>
                <c:pt idx="132">
                  <c:v>214810</c:v>
                </c:pt>
                <c:pt idx="133">
                  <c:v>215049</c:v>
                </c:pt>
                <c:pt idx="134">
                  <c:v>216040</c:v>
                </c:pt>
                <c:pt idx="135">
                  <c:v>217224</c:v>
                </c:pt>
                <c:pt idx="136">
                  <c:v>218472</c:v>
                </c:pt>
                <c:pt idx="137">
                  <c:v>219858</c:v>
                </c:pt>
                <c:pt idx="138">
                  <c:v>221403</c:v>
                </c:pt>
                <c:pt idx="139">
                  <c:v>221696</c:v>
                </c:pt>
                <c:pt idx="140">
                  <c:v>221921</c:v>
                </c:pt>
                <c:pt idx="141">
                  <c:v>222684</c:v>
                </c:pt>
                <c:pt idx="142">
                  <c:v>223523</c:v>
                </c:pt>
                <c:pt idx="143">
                  <c:v>225163</c:v>
                </c:pt>
                <c:pt idx="144">
                  <c:v>227449</c:v>
                </c:pt>
                <c:pt idx="145">
                  <c:v>229009</c:v>
                </c:pt>
                <c:pt idx="146">
                  <c:v>229404</c:v>
                </c:pt>
                <c:pt idx="147">
                  <c:v>229610</c:v>
                </c:pt>
                <c:pt idx="148">
                  <c:v>230484</c:v>
                </c:pt>
                <c:pt idx="149">
                  <c:v>232093</c:v>
                </c:pt>
                <c:pt idx="150">
                  <c:v>233426</c:v>
                </c:pt>
                <c:pt idx="151">
                  <c:v>234910</c:v>
                </c:pt>
                <c:pt idx="152">
                  <c:v>236928</c:v>
                </c:pt>
                <c:pt idx="153">
                  <c:v>237310</c:v>
                </c:pt>
                <c:pt idx="154">
                  <c:v>237622</c:v>
                </c:pt>
                <c:pt idx="155">
                  <c:v>238438</c:v>
                </c:pt>
                <c:pt idx="156">
                  <c:v>239431</c:v>
                </c:pt>
                <c:pt idx="157">
                  <c:v>240936</c:v>
                </c:pt>
                <c:pt idx="158">
                  <c:v>242824</c:v>
                </c:pt>
                <c:pt idx="159">
                  <c:v>244124</c:v>
                </c:pt>
                <c:pt idx="160">
                  <c:v>244498</c:v>
                </c:pt>
                <c:pt idx="161">
                  <c:v>245002</c:v>
                </c:pt>
                <c:pt idx="162">
                  <c:v>245987</c:v>
                </c:pt>
                <c:pt idx="163">
                  <c:v>246994</c:v>
                </c:pt>
                <c:pt idx="164">
                  <c:v>247854</c:v>
                </c:pt>
                <c:pt idx="165">
                  <c:v>249131</c:v>
                </c:pt>
                <c:pt idx="166">
                  <c:v>249909</c:v>
                </c:pt>
                <c:pt idx="167">
                  <c:v>250017</c:v>
                </c:pt>
                <c:pt idx="168">
                  <c:v>250173</c:v>
                </c:pt>
                <c:pt idx="169">
                  <c:v>250792</c:v>
                </c:pt>
                <c:pt idx="170">
                  <c:v>251585</c:v>
                </c:pt>
                <c:pt idx="171">
                  <c:v>252237</c:v>
                </c:pt>
                <c:pt idx="172">
                  <c:v>253469</c:v>
                </c:pt>
                <c:pt idx="173">
                  <c:v>254247</c:v>
                </c:pt>
                <c:pt idx="174">
                  <c:v>254503</c:v>
                </c:pt>
                <c:pt idx="175">
                  <c:v>254729</c:v>
                </c:pt>
                <c:pt idx="176">
                  <c:v>255504</c:v>
                </c:pt>
                <c:pt idx="177">
                  <c:v>256265</c:v>
                </c:pt>
                <c:pt idx="178">
                  <c:v>257040</c:v>
                </c:pt>
                <c:pt idx="179">
                  <c:v>257628</c:v>
                </c:pt>
                <c:pt idx="180">
                  <c:v>258127</c:v>
                </c:pt>
                <c:pt idx="181">
                  <c:v>258324</c:v>
                </c:pt>
                <c:pt idx="182">
                  <c:v>258506</c:v>
                </c:pt>
                <c:pt idx="183">
                  <c:v>258873</c:v>
                </c:pt>
                <c:pt idx="184">
                  <c:v>259326</c:v>
                </c:pt>
                <c:pt idx="185">
                  <c:v>260077</c:v>
                </c:pt>
                <c:pt idx="186">
                  <c:v>260614</c:v>
                </c:pt>
                <c:pt idx="187">
                  <c:v>261038</c:v>
                </c:pt>
                <c:pt idx="188">
                  <c:v>261121</c:v>
                </c:pt>
                <c:pt idx="189">
                  <c:v>261179</c:v>
                </c:pt>
                <c:pt idx="190">
                  <c:v>261235</c:v>
                </c:pt>
                <c:pt idx="191">
                  <c:v>261284</c:v>
                </c:pt>
                <c:pt idx="192">
                  <c:v>261501</c:v>
                </c:pt>
                <c:pt idx="193">
                  <c:v>261656</c:v>
                </c:pt>
                <c:pt idx="194">
                  <c:v>261858</c:v>
                </c:pt>
                <c:pt idx="195">
                  <c:v>261875</c:v>
                </c:pt>
                <c:pt idx="196">
                  <c:v>2619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9B2-46E3-85FE-A83BCF6CC085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Pracovníci kritické infrastruktury, IZS, AČR, bezpečnos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GP$1</c:f>
              <c:strCache>
                <c:ptCount val="197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  <c:pt idx="176">
                  <c:v>21-VI.</c:v>
                </c:pt>
                <c:pt idx="177">
                  <c:v>22-VI.</c:v>
                </c:pt>
                <c:pt idx="178">
                  <c:v>23-VI.</c:v>
                </c:pt>
                <c:pt idx="179">
                  <c:v>24-VI.</c:v>
                </c:pt>
                <c:pt idx="180">
                  <c:v>25-VI.</c:v>
                </c:pt>
                <c:pt idx="181">
                  <c:v>26-VI.</c:v>
                </c:pt>
                <c:pt idx="182">
                  <c:v>27-VI.</c:v>
                </c:pt>
                <c:pt idx="183">
                  <c:v>28-VI.</c:v>
                </c:pt>
                <c:pt idx="184">
                  <c:v>29-VI.</c:v>
                </c:pt>
                <c:pt idx="185">
                  <c:v>30-VI.</c:v>
                </c:pt>
                <c:pt idx="186">
                  <c:v>1-VII.</c:v>
                </c:pt>
                <c:pt idx="187">
                  <c:v>2-VII.</c:v>
                </c:pt>
                <c:pt idx="188">
                  <c:v>3-VII.</c:v>
                </c:pt>
                <c:pt idx="189">
                  <c:v>4-VII.</c:v>
                </c:pt>
                <c:pt idx="190">
                  <c:v>5-VII.</c:v>
                </c:pt>
                <c:pt idx="191">
                  <c:v>6-VII.</c:v>
                </c:pt>
                <c:pt idx="192">
                  <c:v>7-VII.</c:v>
                </c:pt>
                <c:pt idx="193">
                  <c:v>8-VII.</c:v>
                </c:pt>
                <c:pt idx="194">
                  <c:v>9-VII.</c:v>
                </c:pt>
                <c:pt idx="195">
                  <c:v>10-VII.</c:v>
                </c:pt>
                <c:pt idx="196">
                  <c:v>11-VII.</c:v>
                </c:pt>
              </c:strCache>
            </c:strRef>
          </c:cat>
          <c:val>
            <c:numRef>
              <c:f>List1!$B$6:$GP$6</c:f>
              <c:numCache>
                <c:formatCode>General</c:formatCode>
                <c:ptCount val="197"/>
                <c:pt idx="0">
                  <c:v>7</c:v>
                </c:pt>
                <c:pt idx="1">
                  <c:v>17</c:v>
                </c:pt>
                <c:pt idx="2">
                  <c:v>22</c:v>
                </c:pt>
                <c:pt idx="3">
                  <c:v>59</c:v>
                </c:pt>
                <c:pt idx="4">
                  <c:v>61</c:v>
                </c:pt>
                <c:pt idx="5">
                  <c:v>65</c:v>
                </c:pt>
                <c:pt idx="6">
                  <c:v>65</c:v>
                </c:pt>
                <c:pt idx="7">
                  <c:v>65</c:v>
                </c:pt>
                <c:pt idx="8">
                  <c:v>79</c:v>
                </c:pt>
                <c:pt idx="9">
                  <c:v>120</c:v>
                </c:pt>
                <c:pt idx="10">
                  <c:v>203</c:v>
                </c:pt>
                <c:pt idx="11">
                  <c:v>357</c:v>
                </c:pt>
                <c:pt idx="12">
                  <c:v>544</c:v>
                </c:pt>
                <c:pt idx="13">
                  <c:v>581</c:v>
                </c:pt>
                <c:pt idx="14">
                  <c:v>588</c:v>
                </c:pt>
                <c:pt idx="15">
                  <c:v>1067</c:v>
                </c:pt>
                <c:pt idx="16">
                  <c:v>1945</c:v>
                </c:pt>
                <c:pt idx="17">
                  <c:v>2855</c:v>
                </c:pt>
                <c:pt idx="18">
                  <c:v>3704</c:v>
                </c:pt>
                <c:pt idx="19">
                  <c:v>4566</c:v>
                </c:pt>
                <c:pt idx="20">
                  <c:v>4567</c:v>
                </c:pt>
                <c:pt idx="21">
                  <c:v>4568</c:v>
                </c:pt>
                <c:pt idx="22">
                  <c:v>4689</c:v>
                </c:pt>
                <c:pt idx="23">
                  <c:v>4804</c:v>
                </c:pt>
                <c:pt idx="24">
                  <c:v>4887</c:v>
                </c:pt>
                <c:pt idx="25">
                  <c:v>5008</c:v>
                </c:pt>
                <c:pt idx="26">
                  <c:v>5045</c:v>
                </c:pt>
                <c:pt idx="27">
                  <c:v>5048</c:v>
                </c:pt>
                <c:pt idx="28">
                  <c:v>5052</c:v>
                </c:pt>
                <c:pt idx="29">
                  <c:v>5079</c:v>
                </c:pt>
                <c:pt idx="30">
                  <c:v>5127</c:v>
                </c:pt>
                <c:pt idx="31">
                  <c:v>5176</c:v>
                </c:pt>
                <c:pt idx="32">
                  <c:v>5293</c:v>
                </c:pt>
                <c:pt idx="33">
                  <c:v>5447</c:v>
                </c:pt>
                <c:pt idx="34">
                  <c:v>5448</c:v>
                </c:pt>
                <c:pt idx="35">
                  <c:v>5469</c:v>
                </c:pt>
                <c:pt idx="36">
                  <c:v>5903</c:v>
                </c:pt>
                <c:pt idx="37">
                  <c:v>6584</c:v>
                </c:pt>
                <c:pt idx="38">
                  <c:v>7361</c:v>
                </c:pt>
                <c:pt idx="39">
                  <c:v>8176</c:v>
                </c:pt>
                <c:pt idx="40">
                  <c:v>8995</c:v>
                </c:pt>
                <c:pt idx="41">
                  <c:v>9009</c:v>
                </c:pt>
                <c:pt idx="42">
                  <c:v>9013</c:v>
                </c:pt>
                <c:pt idx="43">
                  <c:v>9277</c:v>
                </c:pt>
                <c:pt idx="44">
                  <c:v>9606</c:v>
                </c:pt>
                <c:pt idx="45">
                  <c:v>9813</c:v>
                </c:pt>
                <c:pt idx="46">
                  <c:v>10172</c:v>
                </c:pt>
                <c:pt idx="47">
                  <c:v>10358</c:v>
                </c:pt>
                <c:pt idx="48">
                  <c:v>10370</c:v>
                </c:pt>
                <c:pt idx="49">
                  <c:v>10372</c:v>
                </c:pt>
                <c:pt idx="50">
                  <c:v>10473</c:v>
                </c:pt>
                <c:pt idx="51">
                  <c:v>10535</c:v>
                </c:pt>
                <c:pt idx="52">
                  <c:v>11029</c:v>
                </c:pt>
                <c:pt idx="53">
                  <c:v>11318</c:v>
                </c:pt>
                <c:pt idx="54">
                  <c:v>11886</c:v>
                </c:pt>
                <c:pt idx="55">
                  <c:v>11894</c:v>
                </c:pt>
                <c:pt idx="56">
                  <c:v>11914</c:v>
                </c:pt>
                <c:pt idx="57">
                  <c:v>12408</c:v>
                </c:pt>
                <c:pt idx="58">
                  <c:v>12725</c:v>
                </c:pt>
                <c:pt idx="59">
                  <c:v>13220</c:v>
                </c:pt>
                <c:pt idx="60">
                  <c:v>13766</c:v>
                </c:pt>
                <c:pt idx="61">
                  <c:v>14222</c:v>
                </c:pt>
                <c:pt idx="62">
                  <c:v>14246</c:v>
                </c:pt>
                <c:pt idx="63">
                  <c:v>14265</c:v>
                </c:pt>
                <c:pt idx="64">
                  <c:v>14605</c:v>
                </c:pt>
                <c:pt idx="65">
                  <c:v>15119</c:v>
                </c:pt>
                <c:pt idx="66">
                  <c:v>15834</c:v>
                </c:pt>
                <c:pt idx="67">
                  <c:v>16437</c:v>
                </c:pt>
                <c:pt idx="68">
                  <c:v>17082</c:v>
                </c:pt>
                <c:pt idx="69">
                  <c:v>17491</c:v>
                </c:pt>
                <c:pt idx="70">
                  <c:v>18010</c:v>
                </c:pt>
                <c:pt idx="71">
                  <c:v>19064</c:v>
                </c:pt>
                <c:pt idx="72">
                  <c:v>20091</c:v>
                </c:pt>
                <c:pt idx="73">
                  <c:v>20932</c:v>
                </c:pt>
                <c:pt idx="74">
                  <c:v>21876</c:v>
                </c:pt>
                <c:pt idx="75">
                  <c:v>23014</c:v>
                </c:pt>
                <c:pt idx="76">
                  <c:v>23219</c:v>
                </c:pt>
                <c:pt idx="77">
                  <c:v>23537</c:v>
                </c:pt>
                <c:pt idx="78">
                  <c:v>24512</c:v>
                </c:pt>
                <c:pt idx="79">
                  <c:v>25440</c:v>
                </c:pt>
                <c:pt idx="80">
                  <c:v>26595</c:v>
                </c:pt>
                <c:pt idx="81">
                  <c:v>27529</c:v>
                </c:pt>
                <c:pt idx="82">
                  <c:v>28397</c:v>
                </c:pt>
                <c:pt idx="83">
                  <c:v>28799</c:v>
                </c:pt>
                <c:pt idx="84">
                  <c:v>28966</c:v>
                </c:pt>
                <c:pt idx="85">
                  <c:v>29633</c:v>
                </c:pt>
                <c:pt idx="86">
                  <c:v>30386</c:v>
                </c:pt>
                <c:pt idx="87">
                  <c:v>31586</c:v>
                </c:pt>
                <c:pt idx="88">
                  <c:v>32919</c:v>
                </c:pt>
                <c:pt idx="89">
                  <c:v>34206</c:v>
                </c:pt>
                <c:pt idx="90">
                  <c:v>34664</c:v>
                </c:pt>
                <c:pt idx="91">
                  <c:v>34752</c:v>
                </c:pt>
                <c:pt idx="92">
                  <c:v>35618</c:v>
                </c:pt>
                <c:pt idx="93">
                  <c:v>36839</c:v>
                </c:pt>
                <c:pt idx="94">
                  <c:v>37853</c:v>
                </c:pt>
                <c:pt idx="95">
                  <c:v>40152</c:v>
                </c:pt>
                <c:pt idx="96">
                  <c:v>41213</c:v>
                </c:pt>
                <c:pt idx="97">
                  <c:v>42014</c:v>
                </c:pt>
                <c:pt idx="98">
                  <c:v>42263</c:v>
                </c:pt>
                <c:pt idx="99">
                  <c:v>42733</c:v>
                </c:pt>
                <c:pt idx="100">
                  <c:v>43821</c:v>
                </c:pt>
                <c:pt idx="101">
                  <c:v>44916</c:v>
                </c:pt>
                <c:pt idx="102">
                  <c:v>47195</c:v>
                </c:pt>
                <c:pt idx="103">
                  <c:v>50301</c:v>
                </c:pt>
                <c:pt idx="104">
                  <c:v>51035</c:v>
                </c:pt>
                <c:pt idx="105">
                  <c:v>51406</c:v>
                </c:pt>
                <c:pt idx="106">
                  <c:v>53235</c:v>
                </c:pt>
                <c:pt idx="107">
                  <c:v>54912</c:v>
                </c:pt>
                <c:pt idx="108">
                  <c:v>56287</c:v>
                </c:pt>
                <c:pt idx="109">
                  <c:v>58287</c:v>
                </c:pt>
                <c:pt idx="110">
                  <c:v>60365</c:v>
                </c:pt>
                <c:pt idx="111">
                  <c:v>62614</c:v>
                </c:pt>
                <c:pt idx="112">
                  <c:v>63449</c:v>
                </c:pt>
                <c:pt idx="113">
                  <c:v>66344</c:v>
                </c:pt>
                <c:pt idx="114">
                  <c:v>68300</c:v>
                </c:pt>
                <c:pt idx="115">
                  <c:v>69991</c:v>
                </c:pt>
                <c:pt idx="116">
                  <c:v>73214</c:v>
                </c:pt>
                <c:pt idx="117">
                  <c:v>76886</c:v>
                </c:pt>
                <c:pt idx="118">
                  <c:v>78361</c:v>
                </c:pt>
                <c:pt idx="119">
                  <c:v>78896</c:v>
                </c:pt>
                <c:pt idx="120">
                  <c:v>80201</c:v>
                </c:pt>
                <c:pt idx="121">
                  <c:v>81556</c:v>
                </c:pt>
                <c:pt idx="122">
                  <c:v>83290</c:v>
                </c:pt>
                <c:pt idx="123">
                  <c:v>86865</c:v>
                </c:pt>
                <c:pt idx="124">
                  <c:v>90655</c:v>
                </c:pt>
                <c:pt idx="125">
                  <c:v>91498</c:v>
                </c:pt>
                <c:pt idx="126">
                  <c:v>92417</c:v>
                </c:pt>
                <c:pt idx="127">
                  <c:v>95417</c:v>
                </c:pt>
                <c:pt idx="128">
                  <c:v>98602</c:v>
                </c:pt>
                <c:pt idx="129">
                  <c:v>102132</c:v>
                </c:pt>
                <c:pt idx="130">
                  <c:v>107036</c:v>
                </c:pt>
                <c:pt idx="131">
                  <c:v>112262</c:v>
                </c:pt>
                <c:pt idx="132">
                  <c:v>113970</c:v>
                </c:pt>
                <c:pt idx="133">
                  <c:v>114967</c:v>
                </c:pt>
                <c:pt idx="134">
                  <c:v>118168</c:v>
                </c:pt>
                <c:pt idx="135">
                  <c:v>121257</c:v>
                </c:pt>
                <c:pt idx="136">
                  <c:v>123985</c:v>
                </c:pt>
                <c:pt idx="137">
                  <c:v>127364</c:v>
                </c:pt>
                <c:pt idx="138">
                  <c:v>130086</c:v>
                </c:pt>
                <c:pt idx="139">
                  <c:v>130998</c:v>
                </c:pt>
                <c:pt idx="140">
                  <c:v>131729</c:v>
                </c:pt>
                <c:pt idx="141">
                  <c:v>133545</c:v>
                </c:pt>
                <c:pt idx="142">
                  <c:v>135095</c:v>
                </c:pt>
                <c:pt idx="143">
                  <c:v>137121</c:v>
                </c:pt>
                <c:pt idx="144">
                  <c:v>139548</c:v>
                </c:pt>
                <c:pt idx="145">
                  <c:v>142066</c:v>
                </c:pt>
                <c:pt idx="146">
                  <c:v>142715</c:v>
                </c:pt>
                <c:pt idx="147">
                  <c:v>143351</c:v>
                </c:pt>
                <c:pt idx="148">
                  <c:v>145738</c:v>
                </c:pt>
                <c:pt idx="149">
                  <c:v>147717</c:v>
                </c:pt>
                <c:pt idx="150">
                  <c:v>149929</c:v>
                </c:pt>
                <c:pt idx="151">
                  <c:v>153884</c:v>
                </c:pt>
                <c:pt idx="152">
                  <c:v>157328</c:v>
                </c:pt>
                <c:pt idx="153">
                  <c:v>158143</c:v>
                </c:pt>
                <c:pt idx="154">
                  <c:v>158950</c:v>
                </c:pt>
                <c:pt idx="155">
                  <c:v>162224</c:v>
                </c:pt>
                <c:pt idx="156">
                  <c:v>164289</c:v>
                </c:pt>
                <c:pt idx="157">
                  <c:v>166199</c:v>
                </c:pt>
                <c:pt idx="158">
                  <c:v>168450</c:v>
                </c:pt>
                <c:pt idx="159">
                  <c:v>171977</c:v>
                </c:pt>
                <c:pt idx="160">
                  <c:v>172372</c:v>
                </c:pt>
                <c:pt idx="161">
                  <c:v>172938</c:v>
                </c:pt>
                <c:pt idx="162">
                  <c:v>174225</c:v>
                </c:pt>
                <c:pt idx="163">
                  <c:v>175277</c:v>
                </c:pt>
                <c:pt idx="164">
                  <c:v>176999</c:v>
                </c:pt>
                <c:pt idx="165">
                  <c:v>179608</c:v>
                </c:pt>
                <c:pt idx="166">
                  <c:v>182460</c:v>
                </c:pt>
                <c:pt idx="167">
                  <c:v>183168</c:v>
                </c:pt>
                <c:pt idx="168">
                  <c:v>184041</c:v>
                </c:pt>
                <c:pt idx="169">
                  <c:v>187238</c:v>
                </c:pt>
                <c:pt idx="170">
                  <c:v>190310</c:v>
                </c:pt>
                <c:pt idx="171">
                  <c:v>193737</c:v>
                </c:pt>
                <c:pt idx="172">
                  <c:v>198501</c:v>
                </c:pt>
                <c:pt idx="173">
                  <c:v>203577</c:v>
                </c:pt>
                <c:pt idx="174">
                  <c:v>204794</c:v>
                </c:pt>
                <c:pt idx="175">
                  <c:v>205749</c:v>
                </c:pt>
                <c:pt idx="176">
                  <c:v>208938</c:v>
                </c:pt>
                <c:pt idx="177">
                  <c:v>211902</c:v>
                </c:pt>
                <c:pt idx="178">
                  <c:v>214354</c:v>
                </c:pt>
                <c:pt idx="179">
                  <c:v>217758</c:v>
                </c:pt>
                <c:pt idx="180">
                  <c:v>220175</c:v>
                </c:pt>
                <c:pt idx="181">
                  <c:v>220840</c:v>
                </c:pt>
                <c:pt idx="182">
                  <c:v>221520</c:v>
                </c:pt>
                <c:pt idx="183">
                  <c:v>223145</c:v>
                </c:pt>
                <c:pt idx="184">
                  <c:v>224427</c:v>
                </c:pt>
                <c:pt idx="185">
                  <c:v>226105</c:v>
                </c:pt>
                <c:pt idx="186">
                  <c:v>228426</c:v>
                </c:pt>
                <c:pt idx="187">
                  <c:v>230108</c:v>
                </c:pt>
                <c:pt idx="188">
                  <c:v>230558</c:v>
                </c:pt>
                <c:pt idx="189">
                  <c:v>231003</c:v>
                </c:pt>
                <c:pt idx="190">
                  <c:v>231433</c:v>
                </c:pt>
                <c:pt idx="191">
                  <c:v>231857</c:v>
                </c:pt>
                <c:pt idx="192">
                  <c:v>233303</c:v>
                </c:pt>
                <c:pt idx="193">
                  <c:v>234227</c:v>
                </c:pt>
                <c:pt idx="194">
                  <c:v>235110</c:v>
                </c:pt>
                <c:pt idx="195">
                  <c:v>235254</c:v>
                </c:pt>
                <c:pt idx="196">
                  <c:v>2354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36-4E95-A78C-9F9DC070A9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5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6100351830284751"/>
          <c:y val="8.7433245372610047E-2"/>
          <c:w val="0.22895071677807094"/>
          <c:h val="0.727050113552682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338613455438066E-2"/>
          <c:y val="2.9263177408738655E-2"/>
          <c:w val="0.66820456364392533"/>
          <c:h val="0.8537042085080645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0"/>
                  <c:y val="-1.865022656537537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rgbClr val="0070C0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11220385068377"/>
                      <c:h val="4.18791204655948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04.03.21</c:v>
                </c:pt>
                <c:pt idx="1">
                  <c:v>05.03.21</c:v>
                </c:pt>
                <c:pt idx="2">
                  <c:v>06.03.21</c:v>
                </c:pt>
                <c:pt idx="3">
                  <c:v>07.03.21</c:v>
                </c:pt>
                <c:pt idx="4">
                  <c:v>08.03.21</c:v>
                </c:pt>
                <c:pt idx="5">
                  <c:v>09.03.21</c:v>
                </c:pt>
                <c:pt idx="6">
                  <c:v>10.03.21</c:v>
                </c:pt>
                <c:pt idx="7">
                  <c:v>11.03.21</c:v>
                </c:pt>
                <c:pt idx="8">
                  <c:v>12.03.21</c:v>
                </c:pt>
                <c:pt idx="9">
                  <c:v>13.03.21</c:v>
                </c:pt>
                <c:pt idx="10">
                  <c:v>14.03.21</c:v>
                </c:pt>
                <c:pt idx="11">
                  <c:v>15.03.21</c:v>
                </c:pt>
                <c:pt idx="12">
                  <c:v>16.03.21</c:v>
                </c:pt>
                <c:pt idx="13">
                  <c:v>17.03.21</c:v>
                </c:pt>
                <c:pt idx="14">
                  <c:v>18.03.21</c:v>
                </c:pt>
                <c:pt idx="15">
                  <c:v>19.03.21</c:v>
                </c:pt>
                <c:pt idx="16">
                  <c:v>20.03.21</c:v>
                </c:pt>
                <c:pt idx="17">
                  <c:v>21.03.21</c:v>
                </c:pt>
                <c:pt idx="18">
                  <c:v>22.03.21</c:v>
                </c:pt>
                <c:pt idx="19">
                  <c:v>23.03.21</c:v>
                </c:pt>
                <c:pt idx="20">
                  <c:v>24.03.21</c:v>
                </c:pt>
                <c:pt idx="21">
                  <c:v>25.03.21</c:v>
                </c:pt>
                <c:pt idx="22">
                  <c:v>26.03.21</c:v>
                </c:pt>
                <c:pt idx="23">
                  <c:v>27.03.21</c:v>
                </c:pt>
                <c:pt idx="24">
                  <c:v>28.03.21</c:v>
                </c:pt>
                <c:pt idx="25">
                  <c:v>29.03.21</c:v>
                </c:pt>
                <c:pt idx="26">
                  <c:v>30.03.21</c:v>
                </c:pt>
                <c:pt idx="27">
                  <c:v>31.03.21</c:v>
                </c:pt>
                <c:pt idx="28">
                  <c:v>01.04.21</c:v>
                </c:pt>
                <c:pt idx="29">
                  <c:v>02.04.21</c:v>
                </c:pt>
                <c:pt idx="30">
                  <c:v>03.04.21</c:v>
                </c:pt>
                <c:pt idx="31">
                  <c:v>04.04.21</c:v>
                </c:pt>
                <c:pt idx="32">
                  <c:v>05.04.21</c:v>
                </c:pt>
                <c:pt idx="33">
                  <c:v>06.04.21</c:v>
                </c:pt>
                <c:pt idx="34">
                  <c:v>07.04.21</c:v>
                </c:pt>
                <c:pt idx="35">
                  <c:v>08.04.21</c:v>
                </c:pt>
                <c:pt idx="36">
                  <c:v>09.04.21</c:v>
                </c:pt>
                <c:pt idx="37">
                  <c:v>10.04.21</c:v>
                </c:pt>
                <c:pt idx="38">
                  <c:v>11.04.21</c:v>
                </c:pt>
                <c:pt idx="39">
                  <c:v>12.04.21</c:v>
                </c:pt>
                <c:pt idx="40">
                  <c:v>13.04.21</c:v>
                </c:pt>
                <c:pt idx="41">
                  <c:v>14.04.21</c:v>
                </c:pt>
                <c:pt idx="42">
                  <c:v>15.04.21</c:v>
                </c:pt>
                <c:pt idx="43">
                  <c:v>16.04.21</c:v>
                </c:pt>
                <c:pt idx="44">
                  <c:v>17.04.21</c:v>
                </c:pt>
                <c:pt idx="45">
                  <c:v>18.04.21</c:v>
                </c:pt>
                <c:pt idx="46">
                  <c:v>19.04.21</c:v>
                </c:pt>
                <c:pt idx="47">
                  <c:v>20.04.21</c:v>
                </c:pt>
                <c:pt idx="48">
                  <c:v>21.04.21</c:v>
                </c:pt>
                <c:pt idx="49">
                  <c:v>22.04.21</c:v>
                </c:pt>
                <c:pt idx="50">
                  <c:v>23.04.21</c:v>
                </c:pt>
                <c:pt idx="51">
                  <c:v>24.04.21</c:v>
                </c:pt>
                <c:pt idx="52">
                  <c:v>25.04.21</c:v>
                </c:pt>
                <c:pt idx="53">
                  <c:v>26.04.21</c:v>
                </c:pt>
                <c:pt idx="54">
                  <c:v>27.04.21</c:v>
                </c:pt>
                <c:pt idx="55">
                  <c:v>28.04.21</c:v>
                </c:pt>
                <c:pt idx="56">
                  <c:v>29.04.21</c:v>
                </c:pt>
                <c:pt idx="57">
                  <c:v>30.04.21</c:v>
                </c:pt>
                <c:pt idx="58">
                  <c:v>01.05.21</c:v>
                </c:pt>
                <c:pt idx="59">
                  <c:v>02.05.21</c:v>
                </c:pt>
                <c:pt idx="60">
                  <c:v>03.05.21</c:v>
                </c:pt>
                <c:pt idx="61">
                  <c:v>04.05.21</c:v>
                </c:pt>
                <c:pt idx="62">
                  <c:v>05.05.21</c:v>
                </c:pt>
                <c:pt idx="63">
                  <c:v>06.05.21</c:v>
                </c:pt>
                <c:pt idx="64">
                  <c:v>07.05.21</c:v>
                </c:pt>
                <c:pt idx="65">
                  <c:v>08.05.21</c:v>
                </c:pt>
                <c:pt idx="66">
                  <c:v>09.05.21</c:v>
                </c:pt>
                <c:pt idx="67">
                  <c:v>10.05.21</c:v>
                </c:pt>
                <c:pt idx="68">
                  <c:v>11.05.21</c:v>
                </c:pt>
                <c:pt idx="69">
                  <c:v>12.05.21</c:v>
                </c:pt>
                <c:pt idx="70">
                  <c:v>13.05.21</c:v>
                </c:pt>
                <c:pt idx="71">
                  <c:v>14.05.21</c:v>
                </c:pt>
                <c:pt idx="72">
                  <c:v>15.05.21</c:v>
                </c:pt>
                <c:pt idx="73">
                  <c:v>16.05.21</c:v>
                </c:pt>
                <c:pt idx="74">
                  <c:v>17.05.21</c:v>
                </c:pt>
                <c:pt idx="75">
                  <c:v>18.05.21</c:v>
                </c:pt>
                <c:pt idx="76">
                  <c:v>19.05.21</c:v>
                </c:pt>
                <c:pt idx="77">
                  <c:v>20.05.21</c:v>
                </c:pt>
                <c:pt idx="78">
                  <c:v>21.05.21</c:v>
                </c:pt>
                <c:pt idx="79">
                  <c:v>22.05.21</c:v>
                </c:pt>
                <c:pt idx="80">
                  <c:v>23.05.21</c:v>
                </c:pt>
                <c:pt idx="81">
                  <c:v>24.05.21</c:v>
                </c:pt>
                <c:pt idx="82">
                  <c:v>25.05.21</c:v>
                </c:pt>
                <c:pt idx="83">
                  <c:v>26.05.21</c:v>
                </c:pt>
                <c:pt idx="84">
                  <c:v>27.05.21</c:v>
                </c:pt>
                <c:pt idx="85">
                  <c:v>28.05.21</c:v>
                </c:pt>
                <c:pt idx="86">
                  <c:v>29.05.21</c:v>
                </c:pt>
                <c:pt idx="87">
                  <c:v>30.05.21</c:v>
                </c:pt>
                <c:pt idx="88">
                  <c:v>31.05.21</c:v>
                </c:pt>
                <c:pt idx="89">
                  <c:v>01.06.21</c:v>
                </c:pt>
                <c:pt idx="90">
                  <c:v>02.06.21</c:v>
                </c:pt>
                <c:pt idx="91">
                  <c:v>03.06.21</c:v>
                </c:pt>
                <c:pt idx="92">
                  <c:v>04.06.21</c:v>
                </c:pt>
                <c:pt idx="93">
                  <c:v>05.06.21</c:v>
                </c:pt>
                <c:pt idx="94">
                  <c:v>06.06.21</c:v>
                </c:pt>
                <c:pt idx="95">
                  <c:v>07.06.21</c:v>
                </c:pt>
                <c:pt idx="96">
                  <c:v>08.06.21</c:v>
                </c:pt>
                <c:pt idx="97">
                  <c:v>09.06.21</c:v>
                </c:pt>
                <c:pt idx="98">
                  <c:v>10.06.21</c:v>
                </c:pt>
                <c:pt idx="99">
                  <c:v>11.06.21</c:v>
                </c:pt>
                <c:pt idx="100">
                  <c:v>12.06.21</c:v>
                </c:pt>
                <c:pt idx="101">
                  <c:v>13.06.21</c:v>
                </c:pt>
                <c:pt idx="102">
                  <c:v>14.06.21</c:v>
                </c:pt>
                <c:pt idx="103">
                  <c:v>15.06.21</c:v>
                </c:pt>
                <c:pt idx="104">
                  <c:v>16.06.21</c:v>
                </c:pt>
                <c:pt idx="105">
                  <c:v>17.06.21</c:v>
                </c:pt>
                <c:pt idx="106">
                  <c:v>18.06.21</c:v>
                </c:pt>
                <c:pt idx="107">
                  <c:v>19.06.21</c:v>
                </c:pt>
                <c:pt idx="108">
                  <c:v>20.06.21</c:v>
                </c:pt>
                <c:pt idx="109">
                  <c:v>21.06.21</c:v>
                </c:pt>
                <c:pt idx="110">
                  <c:v>22.06.21</c:v>
                </c:pt>
                <c:pt idx="111">
                  <c:v>23.06.21</c:v>
                </c:pt>
                <c:pt idx="112">
                  <c:v>24.06.21</c:v>
                </c:pt>
                <c:pt idx="113">
                  <c:v>25.06.21</c:v>
                </c:pt>
                <c:pt idx="114">
                  <c:v>26.06.21</c:v>
                </c:pt>
                <c:pt idx="115">
                  <c:v>27.06.21</c:v>
                </c:pt>
                <c:pt idx="116">
                  <c:v>28.06.21</c:v>
                </c:pt>
                <c:pt idx="117">
                  <c:v>29.06.21</c:v>
                </c:pt>
                <c:pt idx="118">
                  <c:v>30.06.21</c:v>
                </c:pt>
                <c:pt idx="119">
                  <c:v>01.07.21</c:v>
                </c:pt>
                <c:pt idx="120">
                  <c:v>02.07.21</c:v>
                </c:pt>
                <c:pt idx="121">
                  <c:v>03.07.21</c:v>
                </c:pt>
                <c:pt idx="122">
                  <c:v>04.07.21</c:v>
                </c:pt>
                <c:pt idx="123">
                  <c:v>05.07.21</c:v>
                </c:pt>
                <c:pt idx="124">
                  <c:v>06.07.21</c:v>
                </c:pt>
                <c:pt idx="125">
                  <c:v>07.07.21</c:v>
                </c:pt>
                <c:pt idx="126">
                  <c:v>08.07.21</c:v>
                </c:pt>
              </c:strCache>
            </c:strRef>
          </c:cat>
          <c:val>
            <c:numRef>
              <c:f>List1!$B$2:$DX$2</c:f>
              <c:numCache>
                <c:formatCode>General</c:formatCode>
                <c:ptCount val="127"/>
                <c:pt idx="0">
                  <c:v>20</c:v>
                </c:pt>
                <c:pt idx="1">
                  <c:v>25</c:v>
                </c:pt>
                <c:pt idx="2">
                  <c:v>10</c:v>
                </c:pt>
                <c:pt idx="3">
                  <c:v>10</c:v>
                </c:pt>
                <c:pt idx="4">
                  <c:v>23</c:v>
                </c:pt>
                <c:pt idx="5">
                  <c:v>22</c:v>
                </c:pt>
                <c:pt idx="6">
                  <c:v>21</c:v>
                </c:pt>
                <c:pt idx="7">
                  <c:v>7</c:v>
                </c:pt>
                <c:pt idx="8">
                  <c:v>17</c:v>
                </c:pt>
                <c:pt idx="9">
                  <c:v>12</c:v>
                </c:pt>
                <c:pt idx="10">
                  <c:v>7</c:v>
                </c:pt>
                <c:pt idx="11">
                  <c:v>23</c:v>
                </c:pt>
                <c:pt idx="12">
                  <c:v>29</c:v>
                </c:pt>
                <c:pt idx="13">
                  <c:v>12</c:v>
                </c:pt>
                <c:pt idx="14">
                  <c:v>16</c:v>
                </c:pt>
                <c:pt idx="15">
                  <c:v>11</c:v>
                </c:pt>
                <c:pt idx="16">
                  <c:v>7</c:v>
                </c:pt>
                <c:pt idx="17">
                  <c:v>6</c:v>
                </c:pt>
                <c:pt idx="18">
                  <c:v>9</c:v>
                </c:pt>
                <c:pt idx="19">
                  <c:v>18</c:v>
                </c:pt>
                <c:pt idx="20">
                  <c:v>9</c:v>
                </c:pt>
                <c:pt idx="21">
                  <c:v>9</c:v>
                </c:pt>
                <c:pt idx="22">
                  <c:v>11</c:v>
                </c:pt>
                <c:pt idx="23">
                  <c:v>9</c:v>
                </c:pt>
                <c:pt idx="24">
                  <c:v>0</c:v>
                </c:pt>
                <c:pt idx="25">
                  <c:v>13</c:v>
                </c:pt>
                <c:pt idx="26">
                  <c:v>9</c:v>
                </c:pt>
                <c:pt idx="27">
                  <c:v>7</c:v>
                </c:pt>
                <c:pt idx="28">
                  <c:v>7</c:v>
                </c:pt>
                <c:pt idx="29">
                  <c:v>4</c:v>
                </c:pt>
                <c:pt idx="30">
                  <c:v>5</c:v>
                </c:pt>
                <c:pt idx="31">
                  <c:v>4</c:v>
                </c:pt>
                <c:pt idx="32">
                  <c:v>5</c:v>
                </c:pt>
                <c:pt idx="33">
                  <c:v>10</c:v>
                </c:pt>
                <c:pt idx="34">
                  <c:v>3</c:v>
                </c:pt>
                <c:pt idx="35">
                  <c:v>5</c:v>
                </c:pt>
                <c:pt idx="36">
                  <c:v>4</c:v>
                </c:pt>
                <c:pt idx="37">
                  <c:v>2</c:v>
                </c:pt>
                <c:pt idx="38">
                  <c:v>2</c:v>
                </c:pt>
                <c:pt idx="39">
                  <c:v>4</c:v>
                </c:pt>
                <c:pt idx="40">
                  <c:v>3</c:v>
                </c:pt>
                <c:pt idx="41">
                  <c:v>9</c:v>
                </c:pt>
                <c:pt idx="42">
                  <c:v>3</c:v>
                </c:pt>
                <c:pt idx="43">
                  <c:v>4</c:v>
                </c:pt>
                <c:pt idx="44">
                  <c:v>3</c:v>
                </c:pt>
                <c:pt idx="45">
                  <c:v>3</c:v>
                </c:pt>
                <c:pt idx="46">
                  <c:v>6</c:v>
                </c:pt>
                <c:pt idx="47">
                  <c:v>4</c:v>
                </c:pt>
                <c:pt idx="48">
                  <c:v>9</c:v>
                </c:pt>
                <c:pt idx="49">
                  <c:v>2</c:v>
                </c:pt>
                <c:pt idx="50">
                  <c:v>6</c:v>
                </c:pt>
                <c:pt idx="51">
                  <c:v>1</c:v>
                </c:pt>
                <c:pt idx="52">
                  <c:v>1</c:v>
                </c:pt>
                <c:pt idx="53">
                  <c:v>3</c:v>
                </c:pt>
                <c:pt idx="54">
                  <c:v>3</c:v>
                </c:pt>
                <c:pt idx="55">
                  <c:v>7</c:v>
                </c:pt>
                <c:pt idx="56">
                  <c:v>6</c:v>
                </c:pt>
                <c:pt idx="57">
                  <c:v>4</c:v>
                </c:pt>
                <c:pt idx="58">
                  <c:v>1</c:v>
                </c:pt>
                <c:pt idx="59">
                  <c:v>3</c:v>
                </c:pt>
                <c:pt idx="60">
                  <c:v>2</c:v>
                </c:pt>
                <c:pt idx="61">
                  <c:v>4</c:v>
                </c:pt>
                <c:pt idx="62">
                  <c:v>5</c:v>
                </c:pt>
                <c:pt idx="63">
                  <c:v>0</c:v>
                </c:pt>
                <c:pt idx="64">
                  <c:v>0</c:v>
                </c:pt>
                <c:pt idx="65">
                  <c:v>1</c:v>
                </c:pt>
                <c:pt idx="66">
                  <c:v>1</c:v>
                </c:pt>
                <c:pt idx="67">
                  <c:v>2</c:v>
                </c:pt>
                <c:pt idx="68">
                  <c:v>2</c:v>
                </c:pt>
                <c:pt idx="69">
                  <c:v>0</c:v>
                </c:pt>
                <c:pt idx="70">
                  <c:v>5</c:v>
                </c:pt>
                <c:pt idx="71">
                  <c:v>2</c:v>
                </c:pt>
                <c:pt idx="72">
                  <c:v>2</c:v>
                </c:pt>
                <c:pt idx="73">
                  <c:v>0</c:v>
                </c:pt>
                <c:pt idx="74">
                  <c:v>1</c:v>
                </c:pt>
                <c:pt idx="75">
                  <c:v>2</c:v>
                </c:pt>
                <c:pt idx="76">
                  <c:v>3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0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1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1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1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1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0"/>
                  <c:y val="-6.3975600510678618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28009897564401"/>
                      <c:h val="7.662379500904517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rgbClr val="ED7D3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04.03.21</c:v>
                </c:pt>
                <c:pt idx="1">
                  <c:v>05.03.21</c:v>
                </c:pt>
                <c:pt idx="2">
                  <c:v>06.03.21</c:v>
                </c:pt>
                <c:pt idx="3">
                  <c:v>07.03.21</c:v>
                </c:pt>
                <c:pt idx="4">
                  <c:v>08.03.21</c:v>
                </c:pt>
                <c:pt idx="5">
                  <c:v>09.03.21</c:v>
                </c:pt>
                <c:pt idx="6">
                  <c:v>10.03.21</c:v>
                </c:pt>
                <c:pt idx="7">
                  <c:v>11.03.21</c:v>
                </c:pt>
                <c:pt idx="8">
                  <c:v>12.03.21</c:v>
                </c:pt>
                <c:pt idx="9">
                  <c:v>13.03.21</c:v>
                </c:pt>
                <c:pt idx="10">
                  <c:v>14.03.21</c:v>
                </c:pt>
                <c:pt idx="11">
                  <c:v>15.03.21</c:v>
                </c:pt>
                <c:pt idx="12">
                  <c:v>16.03.21</c:v>
                </c:pt>
                <c:pt idx="13">
                  <c:v>17.03.21</c:v>
                </c:pt>
                <c:pt idx="14">
                  <c:v>18.03.21</c:v>
                </c:pt>
                <c:pt idx="15">
                  <c:v>19.03.21</c:v>
                </c:pt>
                <c:pt idx="16">
                  <c:v>20.03.21</c:v>
                </c:pt>
                <c:pt idx="17">
                  <c:v>21.03.21</c:v>
                </c:pt>
                <c:pt idx="18">
                  <c:v>22.03.21</c:v>
                </c:pt>
                <c:pt idx="19">
                  <c:v>23.03.21</c:v>
                </c:pt>
                <c:pt idx="20">
                  <c:v>24.03.21</c:v>
                </c:pt>
                <c:pt idx="21">
                  <c:v>25.03.21</c:v>
                </c:pt>
                <c:pt idx="22">
                  <c:v>26.03.21</c:v>
                </c:pt>
                <c:pt idx="23">
                  <c:v>27.03.21</c:v>
                </c:pt>
                <c:pt idx="24">
                  <c:v>28.03.21</c:v>
                </c:pt>
                <c:pt idx="25">
                  <c:v>29.03.21</c:v>
                </c:pt>
                <c:pt idx="26">
                  <c:v>30.03.21</c:v>
                </c:pt>
                <c:pt idx="27">
                  <c:v>31.03.21</c:v>
                </c:pt>
                <c:pt idx="28">
                  <c:v>01.04.21</c:v>
                </c:pt>
                <c:pt idx="29">
                  <c:v>02.04.21</c:v>
                </c:pt>
                <c:pt idx="30">
                  <c:v>03.04.21</c:v>
                </c:pt>
                <c:pt idx="31">
                  <c:v>04.04.21</c:v>
                </c:pt>
                <c:pt idx="32">
                  <c:v>05.04.21</c:v>
                </c:pt>
                <c:pt idx="33">
                  <c:v>06.04.21</c:v>
                </c:pt>
                <c:pt idx="34">
                  <c:v>07.04.21</c:v>
                </c:pt>
                <c:pt idx="35">
                  <c:v>08.04.21</c:v>
                </c:pt>
                <c:pt idx="36">
                  <c:v>09.04.21</c:v>
                </c:pt>
                <c:pt idx="37">
                  <c:v>10.04.21</c:v>
                </c:pt>
                <c:pt idx="38">
                  <c:v>11.04.21</c:v>
                </c:pt>
                <c:pt idx="39">
                  <c:v>12.04.21</c:v>
                </c:pt>
                <c:pt idx="40">
                  <c:v>13.04.21</c:v>
                </c:pt>
                <c:pt idx="41">
                  <c:v>14.04.21</c:v>
                </c:pt>
                <c:pt idx="42">
                  <c:v>15.04.21</c:v>
                </c:pt>
                <c:pt idx="43">
                  <c:v>16.04.21</c:v>
                </c:pt>
                <c:pt idx="44">
                  <c:v>17.04.21</c:v>
                </c:pt>
                <c:pt idx="45">
                  <c:v>18.04.21</c:v>
                </c:pt>
                <c:pt idx="46">
                  <c:v>19.04.21</c:v>
                </c:pt>
                <c:pt idx="47">
                  <c:v>20.04.21</c:v>
                </c:pt>
                <c:pt idx="48">
                  <c:v>21.04.21</c:v>
                </c:pt>
                <c:pt idx="49">
                  <c:v>22.04.21</c:v>
                </c:pt>
                <c:pt idx="50">
                  <c:v>23.04.21</c:v>
                </c:pt>
                <c:pt idx="51">
                  <c:v>24.04.21</c:v>
                </c:pt>
                <c:pt idx="52">
                  <c:v>25.04.21</c:v>
                </c:pt>
                <c:pt idx="53">
                  <c:v>26.04.21</c:v>
                </c:pt>
                <c:pt idx="54">
                  <c:v>27.04.21</c:v>
                </c:pt>
                <c:pt idx="55">
                  <c:v>28.04.21</c:v>
                </c:pt>
                <c:pt idx="56">
                  <c:v>29.04.21</c:v>
                </c:pt>
                <c:pt idx="57">
                  <c:v>30.04.21</c:v>
                </c:pt>
                <c:pt idx="58">
                  <c:v>01.05.21</c:v>
                </c:pt>
                <c:pt idx="59">
                  <c:v>02.05.21</c:v>
                </c:pt>
                <c:pt idx="60">
                  <c:v>03.05.21</c:v>
                </c:pt>
                <c:pt idx="61">
                  <c:v>04.05.21</c:v>
                </c:pt>
                <c:pt idx="62">
                  <c:v>05.05.21</c:v>
                </c:pt>
                <c:pt idx="63">
                  <c:v>06.05.21</c:v>
                </c:pt>
                <c:pt idx="64">
                  <c:v>07.05.21</c:v>
                </c:pt>
                <c:pt idx="65">
                  <c:v>08.05.21</c:v>
                </c:pt>
                <c:pt idx="66">
                  <c:v>09.05.21</c:v>
                </c:pt>
                <c:pt idx="67">
                  <c:v>10.05.21</c:v>
                </c:pt>
                <c:pt idx="68">
                  <c:v>11.05.21</c:v>
                </c:pt>
                <c:pt idx="69">
                  <c:v>12.05.21</c:v>
                </c:pt>
                <c:pt idx="70">
                  <c:v>13.05.21</c:v>
                </c:pt>
                <c:pt idx="71">
                  <c:v>14.05.21</c:v>
                </c:pt>
                <c:pt idx="72">
                  <c:v>15.05.21</c:v>
                </c:pt>
                <c:pt idx="73">
                  <c:v>16.05.21</c:v>
                </c:pt>
                <c:pt idx="74">
                  <c:v>17.05.21</c:v>
                </c:pt>
                <c:pt idx="75">
                  <c:v>18.05.21</c:v>
                </c:pt>
                <c:pt idx="76">
                  <c:v>19.05.21</c:v>
                </c:pt>
                <c:pt idx="77">
                  <c:v>20.05.21</c:v>
                </c:pt>
                <c:pt idx="78">
                  <c:v>21.05.21</c:v>
                </c:pt>
                <c:pt idx="79">
                  <c:v>22.05.21</c:v>
                </c:pt>
                <c:pt idx="80">
                  <c:v>23.05.21</c:v>
                </c:pt>
                <c:pt idx="81">
                  <c:v>24.05.21</c:v>
                </c:pt>
                <c:pt idx="82">
                  <c:v>25.05.21</c:v>
                </c:pt>
                <c:pt idx="83">
                  <c:v>26.05.21</c:v>
                </c:pt>
                <c:pt idx="84">
                  <c:v>27.05.21</c:v>
                </c:pt>
                <c:pt idx="85">
                  <c:v>28.05.21</c:v>
                </c:pt>
                <c:pt idx="86">
                  <c:v>29.05.21</c:v>
                </c:pt>
                <c:pt idx="87">
                  <c:v>30.05.21</c:v>
                </c:pt>
                <c:pt idx="88">
                  <c:v>31.05.21</c:v>
                </c:pt>
                <c:pt idx="89">
                  <c:v>01.06.21</c:v>
                </c:pt>
                <c:pt idx="90">
                  <c:v>02.06.21</c:v>
                </c:pt>
                <c:pt idx="91">
                  <c:v>03.06.21</c:v>
                </c:pt>
                <c:pt idx="92">
                  <c:v>04.06.21</c:v>
                </c:pt>
                <c:pt idx="93">
                  <c:v>05.06.21</c:v>
                </c:pt>
                <c:pt idx="94">
                  <c:v>06.06.21</c:v>
                </c:pt>
                <c:pt idx="95">
                  <c:v>07.06.21</c:v>
                </c:pt>
                <c:pt idx="96">
                  <c:v>08.06.21</c:v>
                </c:pt>
                <c:pt idx="97">
                  <c:v>09.06.21</c:v>
                </c:pt>
                <c:pt idx="98">
                  <c:v>10.06.21</c:v>
                </c:pt>
                <c:pt idx="99">
                  <c:v>11.06.21</c:v>
                </c:pt>
                <c:pt idx="100">
                  <c:v>12.06.21</c:v>
                </c:pt>
                <c:pt idx="101">
                  <c:v>13.06.21</c:v>
                </c:pt>
                <c:pt idx="102">
                  <c:v>14.06.21</c:v>
                </c:pt>
                <c:pt idx="103">
                  <c:v>15.06.21</c:v>
                </c:pt>
                <c:pt idx="104">
                  <c:v>16.06.21</c:v>
                </c:pt>
                <c:pt idx="105">
                  <c:v>17.06.21</c:v>
                </c:pt>
                <c:pt idx="106">
                  <c:v>18.06.21</c:v>
                </c:pt>
                <c:pt idx="107">
                  <c:v>19.06.21</c:v>
                </c:pt>
                <c:pt idx="108">
                  <c:v>20.06.21</c:v>
                </c:pt>
                <c:pt idx="109">
                  <c:v>21.06.21</c:v>
                </c:pt>
                <c:pt idx="110">
                  <c:v>22.06.21</c:v>
                </c:pt>
                <c:pt idx="111">
                  <c:v>23.06.21</c:v>
                </c:pt>
                <c:pt idx="112">
                  <c:v>24.06.21</c:v>
                </c:pt>
                <c:pt idx="113">
                  <c:v>25.06.21</c:v>
                </c:pt>
                <c:pt idx="114">
                  <c:v>26.06.21</c:v>
                </c:pt>
                <c:pt idx="115">
                  <c:v>27.06.21</c:v>
                </c:pt>
                <c:pt idx="116">
                  <c:v>28.06.21</c:v>
                </c:pt>
                <c:pt idx="117">
                  <c:v>29.06.21</c:v>
                </c:pt>
                <c:pt idx="118">
                  <c:v>30.06.21</c:v>
                </c:pt>
                <c:pt idx="119">
                  <c:v>01.07.21</c:v>
                </c:pt>
                <c:pt idx="120">
                  <c:v>02.07.21</c:v>
                </c:pt>
                <c:pt idx="121">
                  <c:v>03.07.21</c:v>
                </c:pt>
                <c:pt idx="122">
                  <c:v>04.07.21</c:v>
                </c:pt>
                <c:pt idx="123">
                  <c:v>05.07.21</c:v>
                </c:pt>
                <c:pt idx="124">
                  <c:v>06.07.21</c:v>
                </c:pt>
                <c:pt idx="125">
                  <c:v>07.07.21</c:v>
                </c:pt>
                <c:pt idx="126">
                  <c:v>08.07.21</c:v>
                </c:pt>
              </c:strCache>
            </c:strRef>
          </c:cat>
          <c:val>
            <c:numRef>
              <c:f>List1!$B$3:$DX$3</c:f>
              <c:numCache>
                <c:formatCode>General</c:formatCode>
                <c:ptCount val="127"/>
                <c:pt idx="0">
                  <c:v>113</c:v>
                </c:pt>
                <c:pt idx="1">
                  <c:v>115</c:v>
                </c:pt>
                <c:pt idx="2">
                  <c:v>60</c:v>
                </c:pt>
                <c:pt idx="3">
                  <c:v>38</c:v>
                </c:pt>
                <c:pt idx="4">
                  <c:v>105</c:v>
                </c:pt>
                <c:pt idx="5">
                  <c:v>119</c:v>
                </c:pt>
                <c:pt idx="6">
                  <c:v>113</c:v>
                </c:pt>
                <c:pt idx="7">
                  <c:v>88</c:v>
                </c:pt>
                <c:pt idx="8">
                  <c:v>110</c:v>
                </c:pt>
                <c:pt idx="9">
                  <c:v>53</c:v>
                </c:pt>
                <c:pt idx="10">
                  <c:v>29</c:v>
                </c:pt>
                <c:pt idx="11">
                  <c:v>104</c:v>
                </c:pt>
                <c:pt idx="12">
                  <c:v>88</c:v>
                </c:pt>
                <c:pt idx="13">
                  <c:v>89</c:v>
                </c:pt>
                <c:pt idx="14">
                  <c:v>79</c:v>
                </c:pt>
                <c:pt idx="15">
                  <c:v>79</c:v>
                </c:pt>
                <c:pt idx="16">
                  <c:v>30</c:v>
                </c:pt>
                <c:pt idx="17">
                  <c:v>24</c:v>
                </c:pt>
                <c:pt idx="18">
                  <c:v>97</c:v>
                </c:pt>
                <c:pt idx="19">
                  <c:v>65</c:v>
                </c:pt>
                <c:pt idx="20">
                  <c:v>64</c:v>
                </c:pt>
                <c:pt idx="21">
                  <c:v>48</c:v>
                </c:pt>
                <c:pt idx="22">
                  <c:v>50</c:v>
                </c:pt>
                <c:pt idx="23">
                  <c:v>29</c:v>
                </c:pt>
                <c:pt idx="24">
                  <c:v>18</c:v>
                </c:pt>
                <c:pt idx="25">
                  <c:v>55</c:v>
                </c:pt>
                <c:pt idx="26">
                  <c:v>54</c:v>
                </c:pt>
                <c:pt idx="27">
                  <c:v>36</c:v>
                </c:pt>
                <c:pt idx="28">
                  <c:v>47</c:v>
                </c:pt>
                <c:pt idx="29">
                  <c:v>26</c:v>
                </c:pt>
                <c:pt idx="30">
                  <c:v>22</c:v>
                </c:pt>
                <c:pt idx="31">
                  <c:v>23</c:v>
                </c:pt>
                <c:pt idx="32">
                  <c:v>22</c:v>
                </c:pt>
                <c:pt idx="33">
                  <c:v>67</c:v>
                </c:pt>
                <c:pt idx="34">
                  <c:v>47</c:v>
                </c:pt>
                <c:pt idx="35">
                  <c:v>34</c:v>
                </c:pt>
                <c:pt idx="36">
                  <c:v>25</c:v>
                </c:pt>
                <c:pt idx="37">
                  <c:v>15</c:v>
                </c:pt>
                <c:pt idx="38">
                  <c:v>8</c:v>
                </c:pt>
                <c:pt idx="39">
                  <c:v>25</c:v>
                </c:pt>
                <c:pt idx="40">
                  <c:v>27</c:v>
                </c:pt>
                <c:pt idx="41">
                  <c:v>27</c:v>
                </c:pt>
                <c:pt idx="42">
                  <c:v>23</c:v>
                </c:pt>
                <c:pt idx="43">
                  <c:v>24</c:v>
                </c:pt>
                <c:pt idx="44">
                  <c:v>8</c:v>
                </c:pt>
                <c:pt idx="45">
                  <c:v>6</c:v>
                </c:pt>
                <c:pt idx="46">
                  <c:v>28</c:v>
                </c:pt>
                <c:pt idx="47">
                  <c:v>26</c:v>
                </c:pt>
                <c:pt idx="48">
                  <c:v>20</c:v>
                </c:pt>
                <c:pt idx="49">
                  <c:v>11</c:v>
                </c:pt>
                <c:pt idx="50">
                  <c:v>9</c:v>
                </c:pt>
                <c:pt idx="51">
                  <c:v>8</c:v>
                </c:pt>
                <c:pt idx="52">
                  <c:v>4</c:v>
                </c:pt>
                <c:pt idx="53">
                  <c:v>11</c:v>
                </c:pt>
                <c:pt idx="54">
                  <c:v>10</c:v>
                </c:pt>
                <c:pt idx="55">
                  <c:v>6</c:v>
                </c:pt>
                <c:pt idx="56">
                  <c:v>14</c:v>
                </c:pt>
                <c:pt idx="57">
                  <c:v>17</c:v>
                </c:pt>
                <c:pt idx="58">
                  <c:v>5</c:v>
                </c:pt>
                <c:pt idx="59">
                  <c:v>4</c:v>
                </c:pt>
                <c:pt idx="60">
                  <c:v>18</c:v>
                </c:pt>
                <c:pt idx="61">
                  <c:v>12</c:v>
                </c:pt>
                <c:pt idx="62">
                  <c:v>11</c:v>
                </c:pt>
                <c:pt idx="63">
                  <c:v>6</c:v>
                </c:pt>
                <c:pt idx="64">
                  <c:v>13</c:v>
                </c:pt>
                <c:pt idx="65">
                  <c:v>4</c:v>
                </c:pt>
                <c:pt idx="66">
                  <c:v>3</c:v>
                </c:pt>
                <c:pt idx="67">
                  <c:v>9</c:v>
                </c:pt>
                <c:pt idx="68">
                  <c:v>18</c:v>
                </c:pt>
                <c:pt idx="69">
                  <c:v>5</c:v>
                </c:pt>
                <c:pt idx="70">
                  <c:v>9</c:v>
                </c:pt>
                <c:pt idx="71">
                  <c:v>7</c:v>
                </c:pt>
                <c:pt idx="72">
                  <c:v>1</c:v>
                </c:pt>
                <c:pt idx="73">
                  <c:v>1</c:v>
                </c:pt>
                <c:pt idx="74">
                  <c:v>7</c:v>
                </c:pt>
                <c:pt idx="75">
                  <c:v>3</c:v>
                </c:pt>
                <c:pt idx="76">
                  <c:v>2</c:v>
                </c:pt>
                <c:pt idx="77">
                  <c:v>6</c:v>
                </c:pt>
                <c:pt idx="78">
                  <c:v>3</c:v>
                </c:pt>
                <c:pt idx="79">
                  <c:v>2</c:v>
                </c:pt>
                <c:pt idx="80">
                  <c:v>0</c:v>
                </c:pt>
                <c:pt idx="81">
                  <c:v>2</c:v>
                </c:pt>
                <c:pt idx="82">
                  <c:v>4</c:v>
                </c:pt>
                <c:pt idx="83">
                  <c:v>5</c:v>
                </c:pt>
                <c:pt idx="84">
                  <c:v>2</c:v>
                </c:pt>
                <c:pt idx="85">
                  <c:v>3</c:v>
                </c:pt>
                <c:pt idx="86">
                  <c:v>0</c:v>
                </c:pt>
                <c:pt idx="87">
                  <c:v>0</c:v>
                </c:pt>
                <c:pt idx="88">
                  <c:v>3</c:v>
                </c:pt>
                <c:pt idx="89">
                  <c:v>1</c:v>
                </c:pt>
                <c:pt idx="90">
                  <c:v>0</c:v>
                </c:pt>
                <c:pt idx="91">
                  <c:v>5</c:v>
                </c:pt>
                <c:pt idx="92">
                  <c:v>1</c:v>
                </c:pt>
                <c:pt idx="93">
                  <c:v>0</c:v>
                </c:pt>
                <c:pt idx="94">
                  <c:v>1</c:v>
                </c:pt>
                <c:pt idx="95">
                  <c:v>1</c:v>
                </c:pt>
                <c:pt idx="96">
                  <c:v>1</c:v>
                </c:pt>
                <c:pt idx="97">
                  <c:v>1</c:v>
                </c:pt>
                <c:pt idx="98">
                  <c:v>1</c:v>
                </c:pt>
                <c:pt idx="99">
                  <c:v>0</c:v>
                </c:pt>
                <c:pt idx="100">
                  <c:v>1</c:v>
                </c:pt>
                <c:pt idx="101">
                  <c:v>2</c:v>
                </c:pt>
                <c:pt idx="102">
                  <c:v>1</c:v>
                </c:pt>
                <c:pt idx="103">
                  <c:v>0</c:v>
                </c:pt>
                <c:pt idx="104">
                  <c:v>0</c:v>
                </c:pt>
                <c:pt idx="105">
                  <c:v>2</c:v>
                </c:pt>
                <c:pt idx="106">
                  <c:v>3</c:v>
                </c:pt>
                <c:pt idx="107">
                  <c:v>1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1</c:v>
                </c:pt>
                <c:pt idx="117">
                  <c:v>2</c:v>
                </c:pt>
                <c:pt idx="118">
                  <c:v>0</c:v>
                </c:pt>
                <c:pt idx="119">
                  <c:v>1</c:v>
                </c:pt>
                <c:pt idx="120">
                  <c:v>2</c:v>
                </c:pt>
                <c:pt idx="121">
                  <c:v>0</c:v>
                </c:pt>
                <c:pt idx="122">
                  <c:v>0</c:v>
                </c:pt>
                <c:pt idx="123">
                  <c:v>1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1.3019527064393282E-16"/>
                  <c:y val="-9.996383765124636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485260247928398"/>
                      <c:h val="9.738098319368607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04.03.21</c:v>
                </c:pt>
                <c:pt idx="1">
                  <c:v>05.03.21</c:v>
                </c:pt>
                <c:pt idx="2">
                  <c:v>06.03.21</c:v>
                </c:pt>
                <c:pt idx="3">
                  <c:v>07.03.21</c:v>
                </c:pt>
                <c:pt idx="4">
                  <c:v>08.03.21</c:v>
                </c:pt>
                <c:pt idx="5">
                  <c:v>09.03.21</c:v>
                </c:pt>
                <c:pt idx="6">
                  <c:v>10.03.21</c:v>
                </c:pt>
                <c:pt idx="7">
                  <c:v>11.03.21</c:v>
                </c:pt>
                <c:pt idx="8">
                  <c:v>12.03.21</c:v>
                </c:pt>
                <c:pt idx="9">
                  <c:v>13.03.21</c:v>
                </c:pt>
                <c:pt idx="10">
                  <c:v>14.03.21</c:v>
                </c:pt>
                <c:pt idx="11">
                  <c:v>15.03.21</c:v>
                </c:pt>
                <c:pt idx="12">
                  <c:v>16.03.21</c:v>
                </c:pt>
                <c:pt idx="13">
                  <c:v>17.03.21</c:v>
                </c:pt>
                <c:pt idx="14">
                  <c:v>18.03.21</c:v>
                </c:pt>
                <c:pt idx="15">
                  <c:v>19.03.21</c:v>
                </c:pt>
                <c:pt idx="16">
                  <c:v>20.03.21</c:v>
                </c:pt>
                <c:pt idx="17">
                  <c:v>21.03.21</c:v>
                </c:pt>
                <c:pt idx="18">
                  <c:v>22.03.21</c:v>
                </c:pt>
                <c:pt idx="19">
                  <c:v>23.03.21</c:v>
                </c:pt>
                <c:pt idx="20">
                  <c:v>24.03.21</c:v>
                </c:pt>
                <c:pt idx="21">
                  <c:v>25.03.21</c:v>
                </c:pt>
                <c:pt idx="22">
                  <c:v>26.03.21</c:v>
                </c:pt>
                <c:pt idx="23">
                  <c:v>27.03.21</c:v>
                </c:pt>
                <c:pt idx="24">
                  <c:v>28.03.21</c:v>
                </c:pt>
                <c:pt idx="25">
                  <c:v>29.03.21</c:v>
                </c:pt>
                <c:pt idx="26">
                  <c:v>30.03.21</c:v>
                </c:pt>
                <c:pt idx="27">
                  <c:v>31.03.21</c:v>
                </c:pt>
                <c:pt idx="28">
                  <c:v>01.04.21</c:v>
                </c:pt>
                <c:pt idx="29">
                  <c:v>02.04.21</c:v>
                </c:pt>
                <c:pt idx="30">
                  <c:v>03.04.21</c:v>
                </c:pt>
                <c:pt idx="31">
                  <c:v>04.04.21</c:v>
                </c:pt>
                <c:pt idx="32">
                  <c:v>05.04.21</c:v>
                </c:pt>
                <c:pt idx="33">
                  <c:v>06.04.21</c:v>
                </c:pt>
                <c:pt idx="34">
                  <c:v>07.04.21</c:v>
                </c:pt>
                <c:pt idx="35">
                  <c:v>08.04.21</c:v>
                </c:pt>
                <c:pt idx="36">
                  <c:v>09.04.21</c:v>
                </c:pt>
                <c:pt idx="37">
                  <c:v>10.04.21</c:v>
                </c:pt>
                <c:pt idx="38">
                  <c:v>11.04.21</c:v>
                </c:pt>
                <c:pt idx="39">
                  <c:v>12.04.21</c:v>
                </c:pt>
                <c:pt idx="40">
                  <c:v>13.04.21</c:v>
                </c:pt>
                <c:pt idx="41">
                  <c:v>14.04.21</c:v>
                </c:pt>
                <c:pt idx="42">
                  <c:v>15.04.21</c:v>
                </c:pt>
                <c:pt idx="43">
                  <c:v>16.04.21</c:v>
                </c:pt>
                <c:pt idx="44">
                  <c:v>17.04.21</c:v>
                </c:pt>
                <c:pt idx="45">
                  <c:v>18.04.21</c:v>
                </c:pt>
                <c:pt idx="46">
                  <c:v>19.04.21</c:v>
                </c:pt>
                <c:pt idx="47">
                  <c:v>20.04.21</c:v>
                </c:pt>
                <c:pt idx="48">
                  <c:v>21.04.21</c:v>
                </c:pt>
                <c:pt idx="49">
                  <c:v>22.04.21</c:v>
                </c:pt>
                <c:pt idx="50">
                  <c:v>23.04.21</c:v>
                </c:pt>
                <c:pt idx="51">
                  <c:v>24.04.21</c:v>
                </c:pt>
                <c:pt idx="52">
                  <c:v>25.04.21</c:v>
                </c:pt>
                <c:pt idx="53">
                  <c:v>26.04.21</c:v>
                </c:pt>
                <c:pt idx="54">
                  <c:v>27.04.21</c:v>
                </c:pt>
                <c:pt idx="55">
                  <c:v>28.04.21</c:v>
                </c:pt>
                <c:pt idx="56">
                  <c:v>29.04.21</c:v>
                </c:pt>
                <c:pt idx="57">
                  <c:v>30.04.21</c:v>
                </c:pt>
                <c:pt idx="58">
                  <c:v>01.05.21</c:v>
                </c:pt>
                <c:pt idx="59">
                  <c:v>02.05.21</c:v>
                </c:pt>
                <c:pt idx="60">
                  <c:v>03.05.21</c:v>
                </c:pt>
                <c:pt idx="61">
                  <c:v>04.05.21</c:v>
                </c:pt>
                <c:pt idx="62">
                  <c:v>05.05.21</c:v>
                </c:pt>
                <c:pt idx="63">
                  <c:v>06.05.21</c:v>
                </c:pt>
                <c:pt idx="64">
                  <c:v>07.05.21</c:v>
                </c:pt>
                <c:pt idx="65">
                  <c:v>08.05.21</c:v>
                </c:pt>
                <c:pt idx="66">
                  <c:v>09.05.21</c:v>
                </c:pt>
                <c:pt idx="67">
                  <c:v>10.05.21</c:v>
                </c:pt>
                <c:pt idx="68">
                  <c:v>11.05.21</c:v>
                </c:pt>
                <c:pt idx="69">
                  <c:v>12.05.21</c:v>
                </c:pt>
                <c:pt idx="70">
                  <c:v>13.05.21</c:v>
                </c:pt>
                <c:pt idx="71">
                  <c:v>14.05.21</c:v>
                </c:pt>
                <c:pt idx="72">
                  <c:v>15.05.21</c:v>
                </c:pt>
                <c:pt idx="73">
                  <c:v>16.05.21</c:v>
                </c:pt>
                <c:pt idx="74">
                  <c:v>17.05.21</c:v>
                </c:pt>
                <c:pt idx="75">
                  <c:v>18.05.21</c:v>
                </c:pt>
                <c:pt idx="76">
                  <c:v>19.05.21</c:v>
                </c:pt>
                <c:pt idx="77">
                  <c:v>20.05.21</c:v>
                </c:pt>
                <c:pt idx="78">
                  <c:v>21.05.21</c:v>
                </c:pt>
                <c:pt idx="79">
                  <c:v>22.05.21</c:v>
                </c:pt>
                <c:pt idx="80">
                  <c:v>23.05.21</c:v>
                </c:pt>
                <c:pt idx="81">
                  <c:v>24.05.21</c:v>
                </c:pt>
                <c:pt idx="82">
                  <c:v>25.05.21</c:v>
                </c:pt>
                <c:pt idx="83">
                  <c:v>26.05.21</c:v>
                </c:pt>
                <c:pt idx="84">
                  <c:v>27.05.21</c:v>
                </c:pt>
                <c:pt idx="85">
                  <c:v>28.05.21</c:v>
                </c:pt>
                <c:pt idx="86">
                  <c:v>29.05.21</c:v>
                </c:pt>
                <c:pt idx="87">
                  <c:v>30.05.21</c:v>
                </c:pt>
                <c:pt idx="88">
                  <c:v>31.05.21</c:v>
                </c:pt>
                <c:pt idx="89">
                  <c:v>01.06.21</c:v>
                </c:pt>
                <c:pt idx="90">
                  <c:v>02.06.21</c:v>
                </c:pt>
                <c:pt idx="91">
                  <c:v>03.06.21</c:v>
                </c:pt>
                <c:pt idx="92">
                  <c:v>04.06.21</c:v>
                </c:pt>
                <c:pt idx="93">
                  <c:v>05.06.21</c:v>
                </c:pt>
                <c:pt idx="94">
                  <c:v>06.06.21</c:v>
                </c:pt>
                <c:pt idx="95">
                  <c:v>07.06.21</c:v>
                </c:pt>
                <c:pt idx="96">
                  <c:v>08.06.21</c:v>
                </c:pt>
                <c:pt idx="97">
                  <c:v>09.06.21</c:v>
                </c:pt>
                <c:pt idx="98">
                  <c:v>10.06.21</c:v>
                </c:pt>
                <c:pt idx="99">
                  <c:v>11.06.21</c:v>
                </c:pt>
                <c:pt idx="100">
                  <c:v>12.06.21</c:v>
                </c:pt>
                <c:pt idx="101">
                  <c:v>13.06.21</c:v>
                </c:pt>
                <c:pt idx="102">
                  <c:v>14.06.21</c:v>
                </c:pt>
                <c:pt idx="103">
                  <c:v>15.06.21</c:v>
                </c:pt>
                <c:pt idx="104">
                  <c:v>16.06.21</c:v>
                </c:pt>
                <c:pt idx="105">
                  <c:v>17.06.21</c:v>
                </c:pt>
                <c:pt idx="106">
                  <c:v>18.06.21</c:v>
                </c:pt>
                <c:pt idx="107">
                  <c:v>19.06.21</c:v>
                </c:pt>
                <c:pt idx="108">
                  <c:v>20.06.21</c:v>
                </c:pt>
                <c:pt idx="109">
                  <c:v>21.06.21</c:v>
                </c:pt>
                <c:pt idx="110">
                  <c:v>22.06.21</c:v>
                </c:pt>
                <c:pt idx="111">
                  <c:v>23.06.21</c:v>
                </c:pt>
                <c:pt idx="112">
                  <c:v>24.06.21</c:v>
                </c:pt>
                <c:pt idx="113">
                  <c:v>25.06.21</c:v>
                </c:pt>
                <c:pt idx="114">
                  <c:v>26.06.21</c:v>
                </c:pt>
                <c:pt idx="115">
                  <c:v>27.06.21</c:v>
                </c:pt>
                <c:pt idx="116">
                  <c:v>28.06.21</c:v>
                </c:pt>
                <c:pt idx="117">
                  <c:v>29.06.21</c:v>
                </c:pt>
                <c:pt idx="118">
                  <c:v>30.06.21</c:v>
                </c:pt>
                <c:pt idx="119">
                  <c:v>01.07.21</c:v>
                </c:pt>
                <c:pt idx="120">
                  <c:v>02.07.21</c:v>
                </c:pt>
                <c:pt idx="121">
                  <c:v>03.07.21</c:v>
                </c:pt>
                <c:pt idx="122">
                  <c:v>04.07.21</c:v>
                </c:pt>
                <c:pt idx="123">
                  <c:v>05.07.21</c:v>
                </c:pt>
                <c:pt idx="124">
                  <c:v>06.07.21</c:v>
                </c:pt>
                <c:pt idx="125">
                  <c:v>07.07.21</c:v>
                </c:pt>
                <c:pt idx="126">
                  <c:v>08.07.21</c:v>
                </c:pt>
              </c:strCache>
            </c:strRef>
          </c:cat>
          <c:val>
            <c:numRef>
              <c:f>List1!$B$4:$DX$4</c:f>
              <c:numCache>
                <c:formatCode>General</c:formatCode>
                <c:ptCount val="127"/>
                <c:pt idx="0">
                  <c:v>154</c:v>
                </c:pt>
                <c:pt idx="1">
                  <c:v>143</c:v>
                </c:pt>
                <c:pt idx="2">
                  <c:v>72</c:v>
                </c:pt>
                <c:pt idx="3">
                  <c:v>33</c:v>
                </c:pt>
                <c:pt idx="4">
                  <c:v>117</c:v>
                </c:pt>
                <c:pt idx="5">
                  <c:v>149</c:v>
                </c:pt>
                <c:pt idx="6">
                  <c:v>130</c:v>
                </c:pt>
                <c:pt idx="7">
                  <c:v>111</c:v>
                </c:pt>
                <c:pt idx="8">
                  <c:v>131</c:v>
                </c:pt>
                <c:pt idx="9">
                  <c:v>65</c:v>
                </c:pt>
                <c:pt idx="10">
                  <c:v>33</c:v>
                </c:pt>
                <c:pt idx="11">
                  <c:v>118</c:v>
                </c:pt>
                <c:pt idx="12">
                  <c:v>127</c:v>
                </c:pt>
                <c:pt idx="13">
                  <c:v>97</c:v>
                </c:pt>
                <c:pt idx="14">
                  <c:v>93</c:v>
                </c:pt>
                <c:pt idx="15">
                  <c:v>74</c:v>
                </c:pt>
                <c:pt idx="16">
                  <c:v>28</c:v>
                </c:pt>
                <c:pt idx="17">
                  <c:v>18</c:v>
                </c:pt>
                <c:pt idx="18">
                  <c:v>84</c:v>
                </c:pt>
                <c:pt idx="19">
                  <c:v>84</c:v>
                </c:pt>
                <c:pt idx="20">
                  <c:v>68</c:v>
                </c:pt>
                <c:pt idx="21">
                  <c:v>66</c:v>
                </c:pt>
                <c:pt idx="22">
                  <c:v>61</c:v>
                </c:pt>
                <c:pt idx="23">
                  <c:v>19</c:v>
                </c:pt>
                <c:pt idx="24">
                  <c:v>7</c:v>
                </c:pt>
                <c:pt idx="25">
                  <c:v>70</c:v>
                </c:pt>
                <c:pt idx="26">
                  <c:v>80</c:v>
                </c:pt>
                <c:pt idx="27">
                  <c:v>65</c:v>
                </c:pt>
                <c:pt idx="28">
                  <c:v>36</c:v>
                </c:pt>
                <c:pt idx="29">
                  <c:v>20</c:v>
                </c:pt>
                <c:pt idx="30">
                  <c:v>12</c:v>
                </c:pt>
                <c:pt idx="31">
                  <c:v>17</c:v>
                </c:pt>
                <c:pt idx="32">
                  <c:v>10</c:v>
                </c:pt>
                <c:pt idx="33">
                  <c:v>47</c:v>
                </c:pt>
                <c:pt idx="34">
                  <c:v>46</c:v>
                </c:pt>
                <c:pt idx="35">
                  <c:v>52</c:v>
                </c:pt>
                <c:pt idx="36">
                  <c:v>36</c:v>
                </c:pt>
                <c:pt idx="37">
                  <c:v>16</c:v>
                </c:pt>
                <c:pt idx="38">
                  <c:v>5</c:v>
                </c:pt>
                <c:pt idx="39">
                  <c:v>29</c:v>
                </c:pt>
                <c:pt idx="40">
                  <c:v>34</c:v>
                </c:pt>
                <c:pt idx="41">
                  <c:v>25</c:v>
                </c:pt>
                <c:pt idx="42">
                  <c:v>23</c:v>
                </c:pt>
                <c:pt idx="43">
                  <c:v>21</c:v>
                </c:pt>
                <c:pt idx="44">
                  <c:v>9</c:v>
                </c:pt>
                <c:pt idx="45">
                  <c:v>6</c:v>
                </c:pt>
                <c:pt idx="46">
                  <c:v>25</c:v>
                </c:pt>
                <c:pt idx="47">
                  <c:v>24</c:v>
                </c:pt>
                <c:pt idx="48">
                  <c:v>33</c:v>
                </c:pt>
                <c:pt idx="49">
                  <c:v>12</c:v>
                </c:pt>
                <c:pt idx="50">
                  <c:v>15</c:v>
                </c:pt>
                <c:pt idx="51">
                  <c:v>6</c:v>
                </c:pt>
                <c:pt idx="52">
                  <c:v>3</c:v>
                </c:pt>
                <c:pt idx="53">
                  <c:v>17</c:v>
                </c:pt>
                <c:pt idx="54">
                  <c:v>21</c:v>
                </c:pt>
                <c:pt idx="55">
                  <c:v>16</c:v>
                </c:pt>
                <c:pt idx="56">
                  <c:v>22</c:v>
                </c:pt>
                <c:pt idx="57">
                  <c:v>19</c:v>
                </c:pt>
                <c:pt idx="58">
                  <c:v>7</c:v>
                </c:pt>
                <c:pt idx="59">
                  <c:v>4</c:v>
                </c:pt>
                <c:pt idx="60">
                  <c:v>14</c:v>
                </c:pt>
                <c:pt idx="61">
                  <c:v>20</c:v>
                </c:pt>
                <c:pt idx="62">
                  <c:v>12</c:v>
                </c:pt>
                <c:pt idx="63">
                  <c:v>14</c:v>
                </c:pt>
                <c:pt idx="64">
                  <c:v>14</c:v>
                </c:pt>
                <c:pt idx="65">
                  <c:v>3</c:v>
                </c:pt>
                <c:pt idx="66">
                  <c:v>2</c:v>
                </c:pt>
                <c:pt idx="67">
                  <c:v>10</c:v>
                </c:pt>
                <c:pt idx="68">
                  <c:v>17</c:v>
                </c:pt>
                <c:pt idx="69">
                  <c:v>9</c:v>
                </c:pt>
                <c:pt idx="70">
                  <c:v>12</c:v>
                </c:pt>
                <c:pt idx="71">
                  <c:v>9</c:v>
                </c:pt>
                <c:pt idx="72">
                  <c:v>5</c:v>
                </c:pt>
                <c:pt idx="73">
                  <c:v>3</c:v>
                </c:pt>
                <c:pt idx="74">
                  <c:v>8</c:v>
                </c:pt>
                <c:pt idx="75">
                  <c:v>7</c:v>
                </c:pt>
                <c:pt idx="76">
                  <c:v>3</c:v>
                </c:pt>
                <c:pt idx="77">
                  <c:v>5</c:v>
                </c:pt>
                <c:pt idx="78">
                  <c:v>4</c:v>
                </c:pt>
                <c:pt idx="79">
                  <c:v>1</c:v>
                </c:pt>
                <c:pt idx="80">
                  <c:v>0</c:v>
                </c:pt>
                <c:pt idx="81">
                  <c:v>6</c:v>
                </c:pt>
                <c:pt idx="82">
                  <c:v>0</c:v>
                </c:pt>
                <c:pt idx="83">
                  <c:v>6</c:v>
                </c:pt>
                <c:pt idx="84">
                  <c:v>1</c:v>
                </c:pt>
                <c:pt idx="85">
                  <c:v>2</c:v>
                </c:pt>
                <c:pt idx="86">
                  <c:v>3</c:v>
                </c:pt>
                <c:pt idx="87">
                  <c:v>0</c:v>
                </c:pt>
                <c:pt idx="88">
                  <c:v>2</c:v>
                </c:pt>
                <c:pt idx="89">
                  <c:v>1</c:v>
                </c:pt>
                <c:pt idx="90">
                  <c:v>1</c:v>
                </c:pt>
                <c:pt idx="91">
                  <c:v>2</c:v>
                </c:pt>
                <c:pt idx="92">
                  <c:v>1</c:v>
                </c:pt>
                <c:pt idx="93">
                  <c:v>1</c:v>
                </c:pt>
                <c:pt idx="94">
                  <c:v>0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1</c:v>
                </c:pt>
                <c:pt idx="99">
                  <c:v>0</c:v>
                </c:pt>
                <c:pt idx="100">
                  <c:v>1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2</c:v>
                </c:pt>
                <c:pt idx="106">
                  <c:v>0</c:v>
                </c:pt>
                <c:pt idx="107">
                  <c:v>1</c:v>
                </c:pt>
                <c:pt idx="108">
                  <c:v>1</c:v>
                </c:pt>
                <c:pt idx="109">
                  <c:v>0</c:v>
                </c:pt>
                <c:pt idx="110">
                  <c:v>0</c:v>
                </c:pt>
                <c:pt idx="111">
                  <c:v>2</c:v>
                </c:pt>
                <c:pt idx="112">
                  <c:v>1</c:v>
                </c:pt>
                <c:pt idx="113">
                  <c:v>0</c:v>
                </c:pt>
                <c:pt idx="114">
                  <c:v>1</c:v>
                </c:pt>
                <c:pt idx="115">
                  <c:v>1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1</c:v>
                </c:pt>
                <c:pt idx="125">
                  <c:v>0</c:v>
                </c:pt>
                <c:pt idx="126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338613455438066E-2"/>
          <c:y val="2.9263177408738655E-2"/>
          <c:w val="0.67928837285169852"/>
          <c:h val="0.8537042085080645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3.2845470587363021E-4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rgbClr val="0070C0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86443207452346"/>
                      <c:h val="4.187914712576739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DX$1</c:f>
              <c:strCache>
                <c:ptCount val="127"/>
                <c:pt idx="0">
                  <c:v>04.03.21</c:v>
                </c:pt>
                <c:pt idx="1">
                  <c:v>05.03.21</c:v>
                </c:pt>
                <c:pt idx="2">
                  <c:v>06.03.21</c:v>
                </c:pt>
                <c:pt idx="3">
                  <c:v>07.03.21</c:v>
                </c:pt>
                <c:pt idx="4">
                  <c:v>08.03.21</c:v>
                </c:pt>
                <c:pt idx="5">
                  <c:v>09.03.21</c:v>
                </c:pt>
                <c:pt idx="6">
                  <c:v>10.03.21</c:v>
                </c:pt>
                <c:pt idx="7">
                  <c:v>11.03.21</c:v>
                </c:pt>
                <c:pt idx="8">
                  <c:v>12.03.21</c:v>
                </c:pt>
                <c:pt idx="9">
                  <c:v>13.03.21</c:v>
                </c:pt>
                <c:pt idx="10">
                  <c:v>14.03.21</c:v>
                </c:pt>
                <c:pt idx="11">
                  <c:v>15.03.21</c:v>
                </c:pt>
                <c:pt idx="12">
                  <c:v>16.03.21</c:v>
                </c:pt>
                <c:pt idx="13">
                  <c:v>17.03.21</c:v>
                </c:pt>
                <c:pt idx="14">
                  <c:v>18.03.21</c:v>
                </c:pt>
                <c:pt idx="15">
                  <c:v>19.03.21</c:v>
                </c:pt>
                <c:pt idx="16">
                  <c:v>20.03.21</c:v>
                </c:pt>
                <c:pt idx="17">
                  <c:v>21.03.21</c:v>
                </c:pt>
                <c:pt idx="18">
                  <c:v>22.03.21</c:v>
                </c:pt>
                <c:pt idx="19">
                  <c:v>23.03.21</c:v>
                </c:pt>
                <c:pt idx="20">
                  <c:v>24.03.21</c:v>
                </c:pt>
                <c:pt idx="21">
                  <c:v>25.03.21</c:v>
                </c:pt>
                <c:pt idx="22">
                  <c:v>26.03.21</c:v>
                </c:pt>
                <c:pt idx="23">
                  <c:v>27.03.21</c:v>
                </c:pt>
                <c:pt idx="24">
                  <c:v>28.03.21</c:v>
                </c:pt>
                <c:pt idx="25">
                  <c:v>29.03.21</c:v>
                </c:pt>
                <c:pt idx="26">
                  <c:v>30.03.21</c:v>
                </c:pt>
                <c:pt idx="27">
                  <c:v>31.03.21</c:v>
                </c:pt>
                <c:pt idx="28">
                  <c:v>01.04.21</c:v>
                </c:pt>
                <c:pt idx="29">
                  <c:v>02.04.21</c:v>
                </c:pt>
                <c:pt idx="30">
                  <c:v>03.04.21</c:v>
                </c:pt>
                <c:pt idx="31">
                  <c:v>04.04.21</c:v>
                </c:pt>
                <c:pt idx="32">
                  <c:v>05.04.21</c:v>
                </c:pt>
                <c:pt idx="33">
                  <c:v>06.04.21</c:v>
                </c:pt>
                <c:pt idx="34">
                  <c:v>07.04.21</c:v>
                </c:pt>
                <c:pt idx="35">
                  <c:v>08.04.21</c:v>
                </c:pt>
                <c:pt idx="36">
                  <c:v>09.04.21</c:v>
                </c:pt>
                <c:pt idx="37">
                  <c:v>10.04.21</c:v>
                </c:pt>
                <c:pt idx="38">
                  <c:v>11.04.21</c:v>
                </c:pt>
                <c:pt idx="39">
                  <c:v>12.04.21</c:v>
                </c:pt>
                <c:pt idx="40">
                  <c:v>13.04.21</c:v>
                </c:pt>
                <c:pt idx="41">
                  <c:v>14.04.21</c:v>
                </c:pt>
                <c:pt idx="42">
                  <c:v>15.04.21</c:v>
                </c:pt>
                <c:pt idx="43">
                  <c:v>16.04.21</c:v>
                </c:pt>
                <c:pt idx="44">
                  <c:v>17.04.21</c:v>
                </c:pt>
                <c:pt idx="45">
                  <c:v>18.04.21</c:v>
                </c:pt>
                <c:pt idx="46">
                  <c:v>19.04.21</c:v>
                </c:pt>
                <c:pt idx="47">
                  <c:v>20.04.21</c:v>
                </c:pt>
                <c:pt idx="48">
                  <c:v>21.04.21</c:v>
                </c:pt>
                <c:pt idx="49">
                  <c:v>22.04.21</c:v>
                </c:pt>
                <c:pt idx="50">
                  <c:v>23.04.21</c:v>
                </c:pt>
                <c:pt idx="51">
                  <c:v>24.04.21</c:v>
                </c:pt>
                <c:pt idx="52">
                  <c:v>25.04.21</c:v>
                </c:pt>
                <c:pt idx="53">
                  <c:v>26.04.21</c:v>
                </c:pt>
                <c:pt idx="54">
                  <c:v>27.04.21</c:v>
                </c:pt>
                <c:pt idx="55">
                  <c:v>28.04.21</c:v>
                </c:pt>
                <c:pt idx="56">
                  <c:v>29.04.21</c:v>
                </c:pt>
                <c:pt idx="57">
                  <c:v>30.04.21</c:v>
                </c:pt>
                <c:pt idx="58">
                  <c:v>01.05.21</c:v>
                </c:pt>
                <c:pt idx="59">
                  <c:v>02.05.21</c:v>
                </c:pt>
                <c:pt idx="60">
                  <c:v>03.05.21</c:v>
                </c:pt>
                <c:pt idx="61">
                  <c:v>04.05.21</c:v>
                </c:pt>
                <c:pt idx="62">
                  <c:v>05.05.21</c:v>
                </c:pt>
                <c:pt idx="63">
                  <c:v>06.05.21</c:v>
                </c:pt>
                <c:pt idx="64">
                  <c:v>07.05.21</c:v>
                </c:pt>
                <c:pt idx="65">
                  <c:v>08.05.21</c:v>
                </c:pt>
                <c:pt idx="66">
                  <c:v>09.05.21</c:v>
                </c:pt>
                <c:pt idx="67">
                  <c:v>10.05.21</c:v>
                </c:pt>
                <c:pt idx="68">
                  <c:v>11.05.21</c:v>
                </c:pt>
                <c:pt idx="69">
                  <c:v>12.05.21</c:v>
                </c:pt>
                <c:pt idx="70">
                  <c:v>13.05.21</c:v>
                </c:pt>
                <c:pt idx="71">
                  <c:v>14.05.21</c:v>
                </c:pt>
                <c:pt idx="72">
                  <c:v>15.05.21</c:v>
                </c:pt>
                <c:pt idx="73">
                  <c:v>16.05.21</c:v>
                </c:pt>
                <c:pt idx="74">
                  <c:v>17.05.21</c:v>
                </c:pt>
                <c:pt idx="75">
                  <c:v>18.05.21</c:v>
                </c:pt>
                <c:pt idx="76">
                  <c:v>19.05.21</c:v>
                </c:pt>
                <c:pt idx="77">
                  <c:v>20.05.21</c:v>
                </c:pt>
                <c:pt idx="78">
                  <c:v>21.05.21</c:v>
                </c:pt>
                <c:pt idx="79">
                  <c:v>22.05.21</c:v>
                </c:pt>
                <c:pt idx="80">
                  <c:v>23.05.21</c:v>
                </c:pt>
                <c:pt idx="81">
                  <c:v>24.05.21</c:v>
                </c:pt>
                <c:pt idx="82">
                  <c:v>25.05.21</c:v>
                </c:pt>
                <c:pt idx="83">
                  <c:v>26.05.21</c:v>
                </c:pt>
                <c:pt idx="84">
                  <c:v>27.05.21</c:v>
                </c:pt>
                <c:pt idx="85">
                  <c:v>28.05.21</c:v>
                </c:pt>
                <c:pt idx="86">
                  <c:v>29.05.21</c:v>
                </c:pt>
                <c:pt idx="87">
                  <c:v>30.05.21</c:v>
                </c:pt>
                <c:pt idx="88">
                  <c:v>31.05.21</c:v>
                </c:pt>
                <c:pt idx="89">
                  <c:v>01.06.21</c:v>
                </c:pt>
                <c:pt idx="90">
                  <c:v>02.06.21</c:v>
                </c:pt>
                <c:pt idx="91">
                  <c:v>03.06.21</c:v>
                </c:pt>
                <c:pt idx="92">
                  <c:v>04.06.21</c:v>
                </c:pt>
                <c:pt idx="93">
                  <c:v>05.06.21</c:v>
                </c:pt>
                <c:pt idx="94">
                  <c:v>06.06.21</c:v>
                </c:pt>
                <c:pt idx="95">
                  <c:v>07.06.21</c:v>
                </c:pt>
                <c:pt idx="96">
                  <c:v>08.06.21</c:v>
                </c:pt>
                <c:pt idx="97">
                  <c:v>09.06.21</c:v>
                </c:pt>
                <c:pt idx="98">
                  <c:v>10.06.21</c:v>
                </c:pt>
                <c:pt idx="99">
                  <c:v>11.06.21</c:v>
                </c:pt>
                <c:pt idx="100">
                  <c:v>12.06.21</c:v>
                </c:pt>
                <c:pt idx="101">
                  <c:v>13.06.21</c:v>
                </c:pt>
                <c:pt idx="102">
                  <c:v>14.06.21</c:v>
                </c:pt>
                <c:pt idx="103">
                  <c:v>15.06.21</c:v>
                </c:pt>
                <c:pt idx="104">
                  <c:v>16.06.21</c:v>
                </c:pt>
                <c:pt idx="105">
                  <c:v>17.06.21</c:v>
                </c:pt>
                <c:pt idx="106">
                  <c:v>18.06.21</c:v>
                </c:pt>
                <c:pt idx="107">
                  <c:v>19.06.21</c:v>
                </c:pt>
                <c:pt idx="108">
                  <c:v>20.06.21</c:v>
                </c:pt>
                <c:pt idx="109">
                  <c:v>21.06.21</c:v>
                </c:pt>
                <c:pt idx="110">
                  <c:v>22.06.21</c:v>
                </c:pt>
                <c:pt idx="111">
                  <c:v>23.06.21</c:v>
                </c:pt>
                <c:pt idx="112">
                  <c:v>24.06.21</c:v>
                </c:pt>
                <c:pt idx="113">
                  <c:v>25.06.21</c:v>
                </c:pt>
                <c:pt idx="114">
                  <c:v>26.06.21</c:v>
                </c:pt>
                <c:pt idx="115">
                  <c:v>27.06.21</c:v>
                </c:pt>
                <c:pt idx="116">
                  <c:v>28.06.21</c:v>
                </c:pt>
                <c:pt idx="117">
                  <c:v>29.06.21</c:v>
                </c:pt>
                <c:pt idx="118">
                  <c:v>30.06.21</c:v>
                </c:pt>
                <c:pt idx="119">
                  <c:v>01.07.21</c:v>
                </c:pt>
                <c:pt idx="120">
                  <c:v>02.07.21</c:v>
                </c:pt>
                <c:pt idx="121">
                  <c:v>03.07.21</c:v>
                </c:pt>
                <c:pt idx="122">
                  <c:v>04.07.21</c:v>
                </c:pt>
                <c:pt idx="123">
                  <c:v>05.07.21</c:v>
                </c:pt>
                <c:pt idx="124">
                  <c:v>06.07.21</c:v>
                </c:pt>
                <c:pt idx="125">
                  <c:v>07.07.21</c:v>
                </c:pt>
                <c:pt idx="126">
                  <c:v>08.07.21</c:v>
                </c:pt>
              </c:strCache>
            </c:strRef>
          </c:cat>
          <c:val>
            <c:numRef>
              <c:f>List1!$B$2:$DX$2</c:f>
              <c:numCache>
                <c:formatCode>General</c:formatCode>
                <c:ptCount val="127"/>
                <c:pt idx="0">
                  <c:v>290</c:v>
                </c:pt>
                <c:pt idx="1">
                  <c:v>288</c:v>
                </c:pt>
                <c:pt idx="2">
                  <c:v>270</c:v>
                </c:pt>
                <c:pt idx="3">
                  <c:v>249</c:v>
                </c:pt>
                <c:pt idx="4">
                  <c:v>229</c:v>
                </c:pt>
                <c:pt idx="5">
                  <c:v>234</c:v>
                </c:pt>
                <c:pt idx="6">
                  <c:v>238</c:v>
                </c:pt>
                <c:pt idx="7">
                  <c:v>242</c:v>
                </c:pt>
                <c:pt idx="8">
                  <c:v>256</c:v>
                </c:pt>
                <c:pt idx="9">
                  <c:v>268</c:v>
                </c:pt>
                <c:pt idx="10">
                  <c:v>274</c:v>
                </c:pt>
                <c:pt idx="11">
                  <c:v>261</c:v>
                </c:pt>
                <c:pt idx="12">
                  <c:v>250</c:v>
                </c:pt>
                <c:pt idx="13">
                  <c:v>235</c:v>
                </c:pt>
                <c:pt idx="14">
                  <c:v>231</c:v>
                </c:pt>
                <c:pt idx="15">
                  <c:v>221</c:v>
                </c:pt>
                <c:pt idx="16">
                  <c:v>218</c:v>
                </c:pt>
                <c:pt idx="17">
                  <c:v>216</c:v>
                </c:pt>
                <c:pt idx="18">
                  <c:v>196</c:v>
                </c:pt>
                <c:pt idx="19">
                  <c:v>189</c:v>
                </c:pt>
                <c:pt idx="20">
                  <c:v>180</c:v>
                </c:pt>
                <c:pt idx="21">
                  <c:v>177</c:v>
                </c:pt>
                <c:pt idx="22">
                  <c:v>172</c:v>
                </c:pt>
                <c:pt idx="23">
                  <c:v>173</c:v>
                </c:pt>
                <c:pt idx="24">
                  <c:v>167</c:v>
                </c:pt>
                <c:pt idx="25">
                  <c:v>154</c:v>
                </c:pt>
                <c:pt idx="26">
                  <c:v>136</c:v>
                </c:pt>
                <c:pt idx="27">
                  <c:v>133</c:v>
                </c:pt>
                <c:pt idx="28">
                  <c:v>124</c:v>
                </c:pt>
                <c:pt idx="29">
                  <c:v>121</c:v>
                </c:pt>
                <c:pt idx="30">
                  <c:v>119</c:v>
                </c:pt>
                <c:pt idx="31">
                  <c:v>115</c:v>
                </c:pt>
                <c:pt idx="32">
                  <c:v>110</c:v>
                </c:pt>
                <c:pt idx="33">
                  <c:v>106</c:v>
                </c:pt>
                <c:pt idx="34">
                  <c:v>100</c:v>
                </c:pt>
                <c:pt idx="35">
                  <c:v>93</c:v>
                </c:pt>
                <c:pt idx="36">
                  <c:v>86</c:v>
                </c:pt>
                <c:pt idx="37">
                  <c:v>81</c:v>
                </c:pt>
                <c:pt idx="38">
                  <c:v>82</c:v>
                </c:pt>
                <c:pt idx="39">
                  <c:v>70</c:v>
                </c:pt>
                <c:pt idx="40">
                  <c:v>66</c:v>
                </c:pt>
                <c:pt idx="41">
                  <c:v>69</c:v>
                </c:pt>
                <c:pt idx="42">
                  <c:v>66</c:v>
                </c:pt>
                <c:pt idx="43">
                  <c:v>63</c:v>
                </c:pt>
                <c:pt idx="44">
                  <c:v>64</c:v>
                </c:pt>
                <c:pt idx="45">
                  <c:v>62</c:v>
                </c:pt>
                <c:pt idx="46">
                  <c:v>64</c:v>
                </c:pt>
                <c:pt idx="47">
                  <c:v>57</c:v>
                </c:pt>
                <c:pt idx="48">
                  <c:v>64</c:v>
                </c:pt>
                <c:pt idx="49">
                  <c:v>59</c:v>
                </c:pt>
                <c:pt idx="50">
                  <c:v>61</c:v>
                </c:pt>
                <c:pt idx="51">
                  <c:v>62</c:v>
                </c:pt>
                <c:pt idx="52">
                  <c:v>60</c:v>
                </c:pt>
                <c:pt idx="53">
                  <c:v>59</c:v>
                </c:pt>
                <c:pt idx="54">
                  <c:v>55</c:v>
                </c:pt>
                <c:pt idx="55">
                  <c:v>55</c:v>
                </c:pt>
                <c:pt idx="56">
                  <c:v>59</c:v>
                </c:pt>
                <c:pt idx="57">
                  <c:v>58</c:v>
                </c:pt>
                <c:pt idx="58">
                  <c:v>56</c:v>
                </c:pt>
                <c:pt idx="59">
                  <c:v>56</c:v>
                </c:pt>
                <c:pt idx="60">
                  <c:v>51</c:v>
                </c:pt>
                <c:pt idx="61">
                  <c:v>49</c:v>
                </c:pt>
                <c:pt idx="62">
                  <c:v>46</c:v>
                </c:pt>
                <c:pt idx="63">
                  <c:v>43</c:v>
                </c:pt>
                <c:pt idx="64">
                  <c:v>39</c:v>
                </c:pt>
                <c:pt idx="65">
                  <c:v>40</c:v>
                </c:pt>
                <c:pt idx="66">
                  <c:v>40</c:v>
                </c:pt>
                <c:pt idx="67">
                  <c:v>35</c:v>
                </c:pt>
                <c:pt idx="68">
                  <c:v>36</c:v>
                </c:pt>
                <c:pt idx="69">
                  <c:v>26</c:v>
                </c:pt>
                <c:pt idx="70">
                  <c:v>28</c:v>
                </c:pt>
                <c:pt idx="71">
                  <c:v>28</c:v>
                </c:pt>
                <c:pt idx="72">
                  <c:v>27</c:v>
                </c:pt>
                <c:pt idx="73">
                  <c:v>26</c:v>
                </c:pt>
                <c:pt idx="74">
                  <c:v>23</c:v>
                </c:pt>
                <c:pt idx="75">
                  <c:v>21</c:v>
                </c:pt>
                <c:pt idx="76">
                  <c:v>21</c:v>
                </c:pt>
                <c:pt idx="77">
                  <c:v>22</c:v>
                </c:pt>
                <c:pt idx="78">
                  <c:v>22</c:v>
                </c:pt>
                <c:pt idx="79">
                  <c:v>23</c:v>
                </c:pt>
                <c:pt idx="80">
                  <c:v>23</c:v>
                </c:pt>
                <c:pt idx="81">
                  <c:v>22</c:v>
                </c:pt>
                <c:pt idx="82">
                  <c:v>21</c:v>
                </c:pt>
                <c:pt idx="83">
                  <c:v>22</c:v>
                </c:pt>
                <c:pt idx="84">
                  <c:v>20</c:v>
                </c:pt>
                <c:pt idx="85">
                  <c:v>19</c:v>
                </c:pt>
                <c:pt idx="86">
                  <c:v>18</c:v>
                </c:pt>
                <c:pt idx="87">
                  <c:v>19</c:v>
                </c:pt>
                <c:pt idx="88">
                  <c:v>17</c:v>
                </c:pt>
                <c:pt idx="89">
                  <c:v>17</c:v>
                </c:pt>
                <c:pt idx="90">
                  <c:v>15</c:v>
                </c:pt>
                <c:pt idx="91">
                  <c:v>14</c:v>
                </c:pt>
                <c:pt idx="92">
                  <c:v>12</c:v>
                </c:pt>
                <c:pt idx="93">
                  <c:v>11</c:v>
                </c:pt>
                <c:pt idx="94">
                  <c:v>11</c:v>
                </c:pt>
                <c:pt idx="95">
                  <c:v>10</c:v>
                </c:pt>
                <c:pt idx="96">
                  <c:v>9</c:v>
                </c:pt>
                <c:pt idx="97">
                  <c:v>7</c:v>
                </c:pt>
                <c:pt idx="98">
                  <c:v>4</c:v>
                </c:pt>
                <c:pt idx="99">
                  <c:v>4</c:v>
                </c:pt>
                <c:pt idx="100">
                  <c:v>3</c:v>
                </c:pt>
                <c:pt idx="101">
                  <c:v>0</c:v>
                </c:pt>
                <c:pt idx="102">
                  <c:v>1</c:v>
                </c:pt>
                <c:pt idx="103">
                  <c:v>1</c:v>
                </c:pt>
                <c:pt idx="104">
                  <c:v>1</c:v>
                </c:pt>
                <c:pt idx="105">
                  <c:v>1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2</c:v>
                </c:pt>
                <c:pt idx="110">
                  <c:v>2</c:v>
                </c:pt>
                <c:pt idx="111">
                  <c:v>2</c:v>
                </c:pt>
                <c:pt idx="112">
                  <c:v>2</c:v>
                </c:pt>
                <c:pt idx="113">
                  <c:v>3</c:v>
                </c:pt>
                <c:pt idx="114">
                  <c:v>3</c:v>
                </c:pt>
                <c:pt idx="115">
                  <c:v>3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3</c:v>
                </c:pt>
                <c:pt idx="120">
                  <c:v>3</c:v>
                </c:pt>
                <c:pt idx="121">
                  <c:v>3</c:v>
                </c:pt>
                <c:pt idx="122">
                  <c:v>3</c:v>
                </c:pt>
                <c:pt idx="123">
                  <c:v>3</c:v>
                </c:pt>
                <c:pt idx="124">
                  <c:v>3</c:v>
                </c:pt>
                <c:pt idx="125">
                  <c:v>3</c:v>
                </c:pt>
                <c:pt idx="126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7.4143274463573408E-8"/>
                  <c:y val="-1.5018755776568082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995385885184117"/>
                      <c:h val="7.66238569217618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rgbClr val="ED7D3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DX$1</c:f>
              <c:strCache>
                <c:ptCount val="127"/>
                <c:pt idx="0">
                  <c:v>04.03.21</c:v>
                </c:pt>
                <c:pt idx="1">
                  <c:v>05.03.21</c:v>
                </c:pt>
                <c:pt idx="2">
                  <c:v>06.03.21</c:v>
                </c:pt>
                <c:pt idx="3">
                  <c:v>07.03.21</c:v>
                </c:pt>
                <c:pt idx="4">
                  <c:v>08.03.21</c:v>
                </c:pt>
                <c:pt idx="5">
                  <c:v>09.03.21</c:v>
                </c:pt>
                <c:pt idx="6">
                  <c:v>10.03.21</c:v>
                </c:pt>
                <c:pt idx="7">
                  <c:v>11.03.21</c:v>
                </c:pt>
                <c:pt idx="8">
                  <c:v>12.03.21</c:v>
                </c:pt>
                <c:pt idx="9">
                  <c:v>13.03.21</c:v>
                </c:pt>
                <c:pt idx="10">
                  <c:v>14.03.21</c:v>
                </c:pt>
                <c:pt idx="11">
                  <c:v>15.03.21</c:v>
                </c:pt>
                <c:pt idx="12">
                  <c:v>16.03.21</c:v>
                </c:pt>
                <c:pt idx="13">
                  <c:v>17.03.21</c:v>
                </c:pt>
                <c:pt idx="14">
                  <c:v>18.03.21</c:v>
                </c:pt>
                <c:pt idx="15">
                  <c:v>19.03.21</c:v>
                </c:pt>
                <c:pt idx="16">
                  <c:v>20.03.21</c:v>
                </c:pt>
                <c:pt idx="17">
                  <c:v>21.03.21</c:v>
                </c:pt>
                <c:pt idx="18">
                  <c:v>22.03.21</c:v>
                </c:pt>
                <c:pt idx="19">
                  <c:v>23.03.21</c:v>
                </c:pt>
                <c:pt idx="20">
                  <c:v>24.03.21</c:v>
                </c:pt>
                <c:pt idx="21">
                  <c:v>25.03.21</c:v>
                </c:pt>
                <c:pt idx="22">
                  <c:v>26.03.21</c:v>
                </c:pt>
                <c:pt idx="23">
                  <c:v>27.03.21</c:v>
                </c:pt>
                <c:pt idx="24">
                  <c:v>28.03.21</c:v>
                </c:pt>
                <c:pt idx="25">
                  <c:v>29.03.21</c:v>
                </c:pt>
                <c:pt idx="26">
                  <c:v>30.03.21</c:v>
                </c:pt>
                <c:pt idx="27">
                  <c:v>31.03.21</c:v>
                </c:pt>
                <c:pt idx="28">
                  <c:v>01.04.21</c:v>
                </c:pt>
                <c:pt idx="29">
                  <c:v>02.04.21</c:v>
                </c:pt>
                <c:pt idx="30">
                  <c:v>03.04.21</c:v>
                </c:pt>
                <c:pt idx="31">
                  <c:v>04.04.21</c:v>
                </c:pt>
                <c:pt idx="32">
                  <c:v>05.04.21</c:v>
                </c:pt>
                <c:pt idx="33">
                  <c:v>06.04.21</c:v>
                </c:pt>
                <c:pt idx="34">
                  <c:v>07.04.21</c:v>
                </c:pt>
                <c:pt idx="35">
                  <c:v>08.04.21</c:v>
                </c:pt>
                <c:pt idx="36">
                  <c:v>09.04.21</c:v>
                </c:pt>
                <c:pt idx="37">
                  <c:v>10.04.21</c:v>
                </c:pt>
                <c:pt idx="38">
                  <c:v>11.04.21</c:v>
                </c:pt>
                <c:pt idx="39">
                  <c:v>12.04.21</c:v>
                </c:pt>
                <c:pt idx="40">
                  <c:v>13.04.21</c:v>
                </c:pt>
                <c:pt idx="41">
                  <c:v>14.04.21</c:v>
                </c:pt>
                <c:pt idx="42">
                  <c:v>15.04.21</c:v>
                </c:pt>
                <c:pt idx="43">
                  <c:v>16.04.21</c:v>
                </c:pt>
                <c:pt idx="44">
                  <c:v>17.04.21</c:v>
                </c:pt>
                <c:pt idx="45">
                  <c:v>18.04.21</c:v>
                </c:pt>
                <c:pt idx="46">
                  <c:v>19.04.21</c:v>
                </c:pt>
                <c:pt idx="47">
                  <c:v>20.04.21</c:v>
                </c:pt>
                <c:pt idx="48">
                  <c:v>21.04.21</c:v>
                </c:pt>
                <c:pt idx="49">
                  <c:v>22.04.21</c:v>
                </c:pt>
                <c:pt idx="50">
                  <c:v>23.04.21</c:v>
                </c:pt>
                <c:pt idx="51">
                  <c:v>24.04.21</c:v>
                </c:pt>
                <c:pt idx="52">
                  <c:v>25.04.21</c:v>
                </c:pt>
                <c:pt idx="53">
                  <c:v>26.04.21</c:v>
                </c:pt>
                <c:pt idx="54">
                  <c:v>27.04.21</c:v>
                </c:pt>
                <c:pt idx="55">
                  <c:v>28.04.21</c:v>
                </c:pt>
                <c:pt idx="56">
                  <c:v>29.04.21</c:v>
                </c:pt>
                <c:pt idx="57">
                  <c:v>30.04.21</c:v>
                </c:pt>
                <c:pt idx="58">
                  <c:v>01.05.21</c:v>
                </c:pt>
                <c:pt idx="59">
                  <c:v>02.05.21</c:v>
                </c:pt>
                <c:pt idx="60">
                  <c:v>03.05.21</c:v>
                </c:pt>
                <c:pt idx="61">
                  <c:v>04.05.21</c:v>
                </c:pt>
                <c:pt idx="62">
                  <c:v>05.05.21</c:v>
                </c:pt>
                <c:pt idx="63">
                  <c:v>06.05.21</c:v>
                </c:pt>
                <c:pt idx="64">
                  <c:v>07.05.21</c:v>
                </c:pt>
                <c:pt idx="65">
                  <c:v>08.05.21</c:v>
                </c:pt>
                <c:pt idx="66">
                  <c:v>09.05.21</c:v>
                </c:pt>
                <c:pt idx="67">
                  <c:v>10.05.21</c:v>
                </c:pt>
                <c:pt idx="68">
                  <c:v>11.05.21</c:v>
                </c:pt>
                <c:pt idx="69">
                  <c:v>12.05.21</c:v>
                </c:pt>
                <c:pt idx="70">
                  <c:v>13.05.21</c:v>
                </c:pt>
                <c:pt idx="71">
                  <c:v>14.05.21</c:v>
                </c:pt>
                <c:pt idx="72">
                  <c:v>15.05.21</c:v>
                </c:pt>
                <c:pt idx="73">
                  <c:v>16.05.21</c:v>
                </c:pt>
                <c:pt idx="74">
                  <c:v>17.05.21</c:v>
                </c:pt>
                <c:pt idx="75">
                  <c:v>18.05.21</c:v>
                </c:pt>
                <c:pt idx="76">
                  <c:v>19.05.21</c:v>
                </c:pt>
                <c:pt idx="77">
                  <c:v>20.05.21</c:v>
                </c:pt>
                <c:pt idx="78">
                  <c:v>21.05.21</c:v>
                </c:pt>
                <c:pt idx="79">
                  <c:v>22.05.21</c:v>
                </c:pt>
                <c:pt idx="80">
                  <c:v>23.05.21</c:v>
                </c:pt>
                <c:pt idx="81">
                  <c:v>24.05.21</c:v>
                </c:pt>
                <c:pt idx="82">
                  <c:v>25.05.21</c:v>
                </c:pt>
                <c:pt idx="83">
                  <c:v>26.05.21</c:v>
                </c:pt>
                <c:pt idx="84">
                  <c:v>27.05.21</c:v>
                </c:pt>
                <c:pt idx="85">
                  <c:v>28.05.21</c:v>
                </c:pt>
                <c:pt idx="86">
                  <c:v>29.05.21</c:v>
                </c:pt>
                <c:pt idx="87">
                  <c:v>30.05.21</c:v>
                </c:pt>
                <c:pt idx="88">
                  <c:v>31.05.21</c:v>
                </c:pt>
                <c:pt idx="89">
                  <c:v>01.06.21</c:v>
                </c:pt>
                <c:pt idx="90">
                  <c:v>02.06.21</c:v>
                </c:pt>
                <c:pt idx="91">
                  <c:v>03.06.21</c:v>
                </c:pt>
                <c:pt idx="92">
                  <c:v>04.06.21</c:v>
                </c:pt>
                <c:pt idx="93">
                  <c:v>05.06.21</c:v>
                </c:pt>
                <c:pt idx="94">
                  <c:v>06.06.21</c:v>
                </c:pt>
                <c:pt idx="95">
                  <c:v>07.06.21</c:v>
                </c:pt>
                <c:pt idx="96">
                  <c:v>08.06.21</c:v>
                </c:pt>
                <c:pt idx="97">
                  <c:v>09.06.21</c:v>
                </c:pt>
                <c:pt idx="98">
                  <c:v>10.06.21</c:v>
                </c:pt>
                <c:pt idx="99">
                  <c:v>11.06.21</c:v>
                </c:pt>
                <c:pt idx="100">
                  <c:v>12.06.21</c:v>
                </c:pt>
                <c:pt idx="101">
                  <c:v>13.06.21</c:v>
                </c:pt>
                <c:pt idx="102">
                  <c:v>14.06.21</c:v>
                </c:pt>
                <c:pt idx="103">
                  <c:v>15.06.21</c:v>
                </c:pt>
                <c:pt idx="104">
                  <c:v>16.06.21</c:v>
                </c:pt>
                <c:pt idx="105">
                  <c:v>17.06.21</c:v>
                </c:pt>
                <c:pt idx="106">
                  <c:v>18.06.21</c:v>
                </c:pt>
                <c:pt idx="107">
                  <c:v>19.06.21</c:v>
                </c:pt>
                <c:pt idx="108">
                  <c:v>20.06.21</c:v>
                </c:pt>
                <c:pt idx="109">
                  <c:v>21.06.21</c:v>
                </c:pt>
                <c:pt idx="110">
                  <c:v>22.06.21</c:v>
                </c:pt>
                <c:pt idx="111">
                  <c:v>23.06.21</c:v>
                </c:pt>
                <c:pt idx="112">
                  <c:v>24.06.21</c:v>
                </c:pt>
                <c:pt idx="113">
                  <c:v>25.06.21</c:v>
                </c:pt>
                <c:pt idx="114">
                  <c:v>26.06.21</c:v>
                </c:pt>
                <c:pt idx="115">
                  <c:v>27.06.21</c:v>
                </c:pt>
                <c:pt idx="116">
                  <c:v>28.06.21</c:v>
                </c:pt>
                <c:pt idx="117">
                  <c:v>29.06.21</c:v>
                </c:pt>
                <c:pt idx="118">
                  <c:v>30.06.21</c:v>
                </c:pt>
                <c:pt idx="119">
                  <c:v>01.07.21</c:v>
                </c:pt>
                <c:pt idx="120">
                  <c:v>02.07.21</c:v>
                </c:pt>
                <c:pt idx="121">
                  <c:v>03.07.21</c:v>
                </c:pt>
                <c:pt idx="122">
                  <c:v>04.07.21</c:v>
                </c:pt>
                <c:pt idx="123">
                  <c:v>05.07.21</c:v>
                </c:pt>
                <c:pt idx="124">
                  <c:v>06.07.21</c:v>
                </c:pt>
                <c:pt idx="125">
                  <c:v>07.07.21</c:v>
                </c:pt>
                <c:pt idx="126">
                  <c:v>08.07.21</c:v>
                </c:pt>
              </c:strCache>
            </c:strRef>
          </c:cat>
          <c:val>
            <c:numRef>
              <c:f>List1!$B$3:$DX$3</c:f>
              <c:numCache>
                <c:formatCode>General</c:formatCode>
                <c:ptCount val="127"/>
                <c:pt idx="0">
                  <c:v>1100</c:v>
                </c:pt>
                <c:pt idx="1">
                  <c:v>1083</c:v>
                </c:pt>
                <c:pt idx="2">
                  <c:v>1016</c:v>
                </c:pt>
                <c:pt idx="3">
                  <c:v>945</c:v>
                </c:pt>
                <c:pt idx="4">
                  <c:v>915</c:v>
                </c:pt>
                <c:pt idx="5">
                  <c:v>977</c:v>
                </c:pt>
                <c:pt idx="6">
                  <c:v>1039</c:v>
                </c:pt>
                <c:pt idx="7">
                  <c:v>1123</c:v>
                </c:pt>
                <c:pt idx="8">
                  <c:v>1228</c:v>
                </c:pt>
                <c:pt idx="9">
                  <c:v>1277</c:v>
                </c:pt>
                <c:pt idx="10">
                  <c:v>1305</c:v>
                </c:pt>
                <c:pt idx="11">
                  <c:v>1253</c:v>
                </c:pt>
                <c:pt idx="12">
                  <c:v>1216</c:v>
                </c:pt>
                <c:pt idx="13">
                  <c:v>1190</c:v>
                </c:pt>
                <c:pt idx="14">
                  <c:v>1165</c:v>
                </c:pt>
                <c:pt idx="15">
                  <c:v>1134</c:v>
                </c:pt>
                <c:pt idx="16">
                  <c:v>1121</c:v>
                </c:pt>
                <c:pt idx="17">
                  <c:v>1107</c:v>
                </c:pt>
                <c:pt idx="18">
                  <c:v>1062</c:v>
                </c:pt>
                <c:pt idx="19">
                  <c:v>1017</c:v>
                </c:pt>
                <c:pt idx="20">
                  <c:v>966</c:v>
                </c:pt>
                <c:pt idx="21">
                  <c:v>921</c:v>
                </c:pt>
                <c:pt idx="22">
                  <c:v>874</c:v>
                </c:pt>
                <c:pt idx="23">
                  <c:v>862</c:v>
                </c:pt>
                <c:pt idx="24">
                  <c:v>849</c:v>
                </c:pt>
                <c:pt idx="25">
                  <c:v>796</c:v>
                </c:pt>
                <c:pt idx="26">
                  <c:v>757</c:v>
                </c:pt>
                <c:pt idx="27">
                  <c:v>717</c:v>
                </c:pt>
                <c:pt idx="28">
                  <c:v>686</c:v>
                </c:pt>
                <c:pt idx="29">
                  <c:v>630</c:v>
                </c:pt>
                <c:pt idx="30">
                  <c:v>629</c:v>
                </c:pt>
                <c:pt idx="31">
                  <c:v>626</c:v>
                </c:pt>
                <c:pt idx="32">
                  <c:v>534</c:v>
                </c:pt>
                <c:pt idx="33">
                  <c:v>556</c:v>
                </c:pt>
                <c:pt idx="34">
                  <c:v>540</c:v>
                </c:pt>
                <c:pt idx="35">
                  <c:v>531</c:v>
                </c:pt>
                <c:pt idx="36">
                  <c:v>504</c:v>
                </c:pt>
                <c:pt idx="37">
                  <c:v>495</c:v>
                </c:pt>
                <c:pt idx="38">
                  <c:v>484</c:v>
                </c:pt>
                <c:pt idx="39">
                  <c:v>439</c:v>
                </c:pt>
                <c:pt idx="40">
                  <c:v>422</c:v>
                </c:pt>
                <c:pt idx="41">
                  <c:v>411</c:v>
                </c:pt>
                <c:pt idx="42">
                  <c:v>382</c:v>
                </c:pt>
                <c:pt idx="43">
                  <c:v>390</c:v>
                </c:pt>
                <c:pt idx="44">
                  <c:v>368</c:v>
                </c:pt>
                <c:pt idx="45">
                  <c:v>353</c:v>
                </c:pt>
                <c:pt idx="46">
                  <c:v>357</c:v>
                </c:pt>
                <c:pt idx="47">
                  <c:v>311</c:v>
                </c:pt>
                <c:pt idx="48">
                  <c:v>293</c:v>
                </c:pt>
                <c:pt idx="49">
                  <c:v>269</c:v>
                </c:pt>
                <c:pt idx="50">
                  <c:v>259</c:v>
                </c:pt>
                <c:pt idx="51">
                  <c:v>252</c:v>
                </c:pt>
                <c:pt idx="52">
                  <c:v>248</c:v>
                </c:pt>
                <c:pt idx="53">
                  <c:v>227</c:v>
                </c:pt>
                <c:pt idx="54">
                  <c:v>212</c:v>
                </c:pt>
                <c:pt idx="55">
                  <c:v>192</c:v>
                </c:pt>
                <c:pt idx="56">
                  <c:v>187</c:v>
                </c:pt>
                <c:pt idx="57">
                  <c:v>181</c:v>
                </c:pt>
                <c:pt idx="58">
                  <c:v>178</c:v>
                </c:pt>
                <c:pt idx="59">
                  <c:v>177</c:v>
                </c:pt>
                <c:pt idx="60">
                  <c:v>167</c:v>
                </c:pt>
                <c:pt idx="61">
                  <c:v>151</c:v>
                </c:pt>
                <c:pt idx="62">
                  <c:v>146</c:v>
                </c:pt>
                <c:pt idx="63">
                  <c:v>137</c:v>
                </c:pt>
                <c:pt idx="64">
                  <c:v>140</c:v>
                </c:pt>
                <c:pt idx="65">
                  <c:v>138</c:v>
                </c:pt>
                <c:pt idx="66">
                  <c:v>137</c:v>
                </c:pt>
                <c:pt idx="67">
                  <c:v>133</c:v>
                </c:pt>
                <c:pt idx="68">
                  <c:v>141</c:v>
                </c:pt>
                <c:pt idx="69">
                  <c:v>140</c:v>
                </c:pt>
                <c:pt idx="70">
                  <c:v>133</c:v>
                </c:pt>
                <c:pt idx="71">
                  <c:v>126</c:v>
                </c:pt>
                <c:pt idx="72">
                  <c:v>121</c:v>
                </c:pt>
                <c:pt idx="73">
                  <c:v>119</c:v>
                </c:pt>
                <c:pt idx="74">
                  <c:v>107</c:v>
                </c:pt>
                <c:pt idx="75">
                  <c:v>101</c:v>
                </c:pt>
                <c:pt idx="76">
                  <c:v>92</c:v>
                </c:pt>
                <c:pt idx="77">
                  <c:v>91</c:v>
                </c:pt>
                <c:pt idx="78">
                  <c:v>80</c:v>
                </c:pt>
                <c:pt idx="79">
                  <c:v>78</c:v>
                </c:pt>
                <c:pt idx="80">
                  <c:v>77</c:v>
                </c:pt>
                <c:pt idx="81">
                  <c:v>62</c:v>
                </c:pt>
                <c:pt idx="82">
                  <c:v>56</c:v>
                </c:pt>
                <c:pt idx="83">
                  <c:v>55</c:v>
                </c:pt>
                <c:pt idx="84">
                  <c:v>46</c:v>
                </c:pt>
                <c:pt idx="85">
                  <c:v>44</c:v>
                </c:pt>
                <c:pt idx="86">
                  <c:v>41</c:v>
                </c:pt>
                <c:pt idx="87">
                  <c:v>40</c:v>
                </c:pt>
                <c:pt idx="88">
                  <c:v>36</c:v>
                </c:pt>
                <c:pt idx="89">
                  <c:v>36</c:v>
                </c:pt>
                <c:pt idx="90">
                  <c:v>32</c:v>
                </c:pt>
                <c:pt idx="91">
                  <c:v>34</c:v>
                </c:pt>
                <c:pt idx="92">
                  <c:v>31</c:v>
                </c:pt>
                <c:pt idx="93">
                  <c:v>30</c:v>
                </c:pt>
                <c:pt idx="94">
                  <c:v>31</c:v>
                </c:pt>
                <c:pt idx="95">
                  <c:v>29</c:v>
                </c:pt>
                <c:pt idx="96">
                  <c:v>26</c:v>
                </c:pt>
                <c:pt idx="97">
                  <c:v>23</c:v>
                </c:pt>
                <c:pt idx="98">
                  <c:v>23</c:v>
                </c:pt>
                <c:pt idx="99">
                  <c:v>20</c:v>
                </c:pt>
                <c:pt idx="100">
                  <c:v>21</c:v>
                </c:pt>
                <c:pt idx="101">
                  <c:v>23</c:v>
                </c:pt>
                <c:pt idx="102">
                  <c:v>21</c:v>
                </c:pt>
                <c:pt idx="103">
                  <c:v>19</c:v>
                </c:pt>
                <c:pt idx="104">
                  <c:v>19</c:v>
                </c:pt>
                <c:pt idx="105">
                  <c:v>18</c:v>
                </c:pt>
                <c:pt idx="106">
                  <c:v>19</c:v>
                </c:pt>
                <c:pt idx="107">
                  <c:v>20</c:v>
                </c:pt>
                <c:pt idx="108">
                  <c:v>20</c:v>
                </c:pt>
                <c:pt idx="109">
                  <c:v>19</c:v>
                </c:pt>
                <c:pt idx="110">
                  <c:v>17</c:v>
                </c:pt>
                <c:pt idx="111">
                  <c:v>17</c:v>
                </c:pt>
                <c:pt idx="112">
                  <c:v>16</c:v>
                </c:pt>
                <c:pt idx="113">
                  <c:v>15</c:v>
                </c:pt>
                <c:pt idx="114">
                  <c:v>15</c:v>
                </c:pt>
                <c:pt idx="115">
                  <c:v>13</c:v>
                </c:pt>
                <c:pt idx="116">
                  <c:v>14</c:v>
                </c:pt>
                <c:pt idx="117">
                  <c:v>16</c:v>
                </c:pt>
                <c:pt idx="118">
                  <c:v>15</c:v>
                </c:pt>
                <c:pt idx="119">
                  <c:v>14</c:v>
                </c:pt>
                <c:pt idx="120">
                  <c:v>14</c:v>
                </c:pt>
                <c:pt idx="121">
                  <c:v>14</c:v>
                </c:pt>
                <c:pt idx="122">
                  <c:v>14</c:v>
                </c:pt>
                <c:pt idx="123">
                  <c:v>15</c:v>
                </c:pt>
                <c:pt idx="124">
                  <c:v>15</c:v>
                </c:pt>
                <c:pt idx="125">
                  <c:v>15</c:v>
                </c:pt>
                <c:pt idx="126">
                  <c:v>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0"/>
                  <c:y val="-5.8000827879151756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952641068222655"/>
                      <c:h val="0.1113685667177562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DX$1</c:f>
              <c:strCache>
                <c:ptCount val="127"/>
                <c:pt idx="0">
                  <c:v>04.03.21</c:v>
                </c:pt>
                <c:pt idx="1">
                  <c:v>05.03.21</c:v>
                </c:pt>
                <c:pt idx="2">
                  <c:v>06.03.21</c:v>
                </c:pt>
                <c:pt idx="3">
                  <c:v>07.03.21</c:v>
                </c:pt>
                <c:pt idx="4">
                  <c:v>08.03.21</c:v>
                </c:pt>
                <c:pt idx="5">
                  <c:v>09.03.21</c:v>
                </c:pt>
                <c:pt idx="6">
                  <c:v>10.03.21</c:v>
                </c:pt>
                <c:pt idx="7">
                  <c:v>11.03.21</c:v>
                </c:pt>
                <c:pt idx="8">
                  <c:v>12.03.21</c:v>
                </c:pt>
                <c:pt idx="9">
                  <c:v>13.03.21</c:v>
                </c:pt>
                <c:pt idx="10">
                  <c:v>14.03.21</c:v>
                </c:pt>
                <c:pt idx="11">
                  <c:v>15.03.21</c:v>
                </c:pt>
                <c:pt idx="12">
                  <c:v>16.03.21</c:v>
                </c:pt>
                <c:pt idx="13">
                  <c:v>17.03.21</c:v>
                </c:pt>
                <c:pt idx="14">
                  <c:v>18.03.21</c:v>
                </c:pt>
                <c:pt idx="15">
                  <c:v>19.03.21</c:v>
                </c:pt>
                <c:pt idx="16">
                  <c:v>20.03.21</c:v>
                </c:pt>
                <c:pt idx="17">
                  <c:v>21.03.21</c:v>
                </c:pt>
                <c:pt idx="18">
                  <c:v>22.03.21</c:v>
                </c:pt>
                <c:pt idx="19">
                  <c:v>23.03.21</c:v>
                </c:pt>
                <c:pt idx="20">
                  <c:v>24.03.21</c:v>
                </c:pt>
                <c:pt idx="21">
                  <c:v>25.03.21</c:v>
                </c:pt>
                <c:pt idx="22">
                  <c:v>26.03.21</c:v>
                </c:pt>
                <c:pt idx="23">
                  <c:v>27.03.21</c:v>
                </c:pt>
                <c:pt idx="24">
                  <c:v>28.03.21</c:v>
                </c:pt>
                <c:pt idx="25">
                  <c:v>29.03.21</c:v>
                </c:pt>
                <c:pt idx="26">
                  <c:v>30.03.21</c:v>
                </c:pt>
                <c:pt idx="27">
                  <c:v>31.03.21</c:v>
                </c:pt>
                <c:pt idx="28">
                  <c:v>01.04.21</c:v>
                </c:pt>
                <c:pt idx="29">
                  <c:v>02.04.21</c:v>
                </c:pt>
                <c:pt idx="30">
                  <c:v>03.04.21</c:v>
                </c:pt>
                <c:pt idx="31">
                  <c:v>04.04.21</c:v>
                </c:pt>
                <c:pt idx="32">
                  <c:v>05.04.21</c:v>
                </c:pt>
                <c:pt idx="33">
                  <c:v>06.04.21</c:v>
                </c:pt>
                <c:pt idx="34">
                  <c:v>07.04.21</c:v>
                </c:pt>
                <c:pt idx="35">
                  <c:v>08.04.21</c:v>
                </c:pt>
                <c:pt idx="36">
                  <c:v>09.04.21</c:v>
                </c:pt>
                <c:pt idx="37">
                  <c:v>10.04.21</c:v>
                </c:pt>
                <c:pt idx="38">
                  <c:v>11.04.21</c:v>
                </c:pt>
                <c:pt idx="39">
                  <c:v>12.04.21</c:v>
                </c:pt>
                <c:pt idx="40">
                  <c:v>13.04.21</c:v>
                </c:pt>
                <c:pt idx="41">
                  <c:v>14.04.21</c:v>
                </c:pt>
                <c:pt idx="42">
                  <c:v>15.04.21</c:v>
                </c:pt>
                <c:pt idx="43">
                  <c:v>16.04.21</c:v>
                </c:pt>
                <c:pt idx="44">
                  <c:v>17.04.21</c:v>
                </c:pt>
                <c:pt idx="45">
                  <c:v>18.04.21</c:v>
                </c:pt>
                <c:pt idx="46">
                  <c:v>19.04.21</c:v>
                </c:pt>
                <c:pt idx="47">
                  <c:v>20.04.21</c:v>
                </c:pt>
                <c:pt idx="48">
                  <c:v>21.04.21</c:v>
                </c:pt>
                <c:pt idx="49">
                  <c:v>22.04.21</c:v>
                </c:pt>
                <c:pt idx="50">
                  <c:v>23.04.21</c:v>
                </c:pt>
                <c:pt idx="51">
                  <c:v>24.04.21</c:v>
                </c:pt>
                <c:pt idx="52">
                  <c:v>25.04.21</c:v>
                </c:pt>
                <c:pt idx="53">
                  <c:v>26.04.21</c:v>
                </c:pt>
                <c:pt idx="54">
                  <c:v>27.04.21</c:v>
                </c:pt>
                <c:pt idx="55">
                  <c:v>28.04.21</c:v>
                </c:pt>
                <c:pt idx="56">
                  <c:v>29.04.21</c:v>
                </c:pt>
                <c:pt idx="57">
                  <c:v>30.04.21</c:v>
                </c:pt>
                <c:pt idx="58">
                  <c:v>01.05.21</c:v>
                </c:pt>
                <c:pt idx="59">
                  <c:v>02.05.21</c:v>
                </c:pt>
                <c:pt idx="60">
                  <c:v>03.05.21</c:v>
                </c:pt>
                <c:pt idx="61">
                  <c:v>04.05.21</c:v>
                </c:pt>
                <c:pt idx="62">
                  <c:v>05.05.21</c:v>
                </c:pt>
                <c:pt idx="63">
                  <c:v>06.05.21</c:v>
                </c:pt>
                <c:pt idx="64">
                  <c:v>07.05.21</c:v>
                </c:pt>
                <c:pt idx="65">
                  <c:v>08.05.21</c:v>
                </c:pt>
                <c:pt idx="66">
                  <c:v>09.05.21</c:v>
                </c:pt>
                <c:pt idx="67">
                  <c:v>10.05.21</c:v>
                </c:pt>
                <c:pt idx="68">
                  <c:v>11.05.21</c:v>
                </c:pt>
                <c:pt idx="69">
                  <c:v>12.05.21</c:v>
                </c:pt>
                <c:pt idx="70">
                  <c:v>13.05.21</c:v>
                </c:pt>
                <c:pt idx="71">
                  <c:v>14.05.21</c:v>
                </c:pt>
                <c:pt idx="72">
                  <c:v>15.05.21</c:v>
                </c:pt>
                <c:pt idx="73">
                  <c:v>16.05.21</c:v>
                </c:pt>
                <c:pt idx="74">
                  <c:v>17.05.21</c:v>
                </c:pt>
                <c:pt idx="75">
                  <c:v>18.05.21</c:v>
                </c:pt>
                <c:pt idx="76">
                  <c:v>19.05.21</c:v>
                </c:pt>
                <c:pt idx="77">
                  <c:v>20.05.21</c:v>
                </c:pt>
                <c:pt idx="78">
                  <c:v>21.05.21</c:v>
                </c:pt>
                <c:pt idx="79">
                  <c:v>22.05.21</c:v>
                </c:pt>
                <c:pt idx="80">
                  <c:v>23.05.21</c:v>
                </c:pt>
                <c:pt idx="81">
                  <c:v>24.05.21</c:v>
                </c:pt>
                <c:pt idx="82">
                  <c:v>25.05.21</c:v>
                </c:pt>
                <c:pt idx="83">
                  <c:v>26.05.21</c:v>
                </c:pt>
                <c:pt idx="84">
                  <c:v>27.05.21</c:v>
                </c:pt>
                <c:pt idx="85">
                  <c:v>28.05.21</c:v>
                </c:pt>
                <c:pt idx="86">
                  <c:v>29.05.21</c:v>
                </c:pt>
                <c:pt idx="87">
                  <c:v>30.05.21</c:v>
                </c:pt>
                <c:pt idx="88">
                  <c:v>31.05.21</c:v>
                </c:pt>
                <c:pt idx="89">
                  <c:v>01.06.21</c:v>
                </c:pt>
                <c:pt idx="90">
                  <c:v>02.06.21</c:v>
                </c:pt>
                <c:pt idx="91">
                  <c:v>03.06.21</c:v>
                </c:pt>
                <c:pt idx="92">
                  <c:v>04.06.21</c:v>
                </c:pt>
                <c:pt idx="93">
                  <c:v>05.06.21</c:v>
                </c:pt>
                <c:pt idx="94">
                  <c:v>06.06.21</c:v>
                </c:pt>
                <c:pt idx="95">
                  <c:v>07.06.21</c:v>
                </c:pt>
                <c:pt idx="96">
                  <c:v>08.06.21</c:v>
                </c:pt>
                <c:pt idx="97">
                  <c:v>09.06.21</c:v>
                </c:pt>
                <c:pt idx="98">
                  <c:v>10.06.21</c:v>
                </c:pt>
                <c:pt idx="99">
                  <c:v>11.06.21</c:v>
                </c:pt>
                <c:pt idx="100">
                  <c:v>12.06.21</c:v>
                </c:pt>
                <c:pt idx="101">
                  <c:v>13.06.21</c:v>
                </c:pt>
                <c:pt idx="102">
                  <c:v>14.06.21</c:v>
                </c:pt>
                <c:pt idx="103">
                  <c:v>15.06.21</c:v>
                </c:pt>
                <c:pt idx="104">
                  <c:v>16.06.21</c:v>
                </c:pt>
                <c:pt idx="105">
                  <c:v>17.06.21</c:v>
                </c:pt>
                <c:pt idx="106">
                  <c:v>18.06.21</c:v>
                </c:pt>
                <c:pt idx="107">
                  <c:v>19.06.21</c:v>
                </c:pt>
                <c:pt idx="108">
                  <c:v>20.06.21</c:v>
                </c:pt>
                <c:pt idx="109">
                  <c:v>21.06.21</c:v>
                </c:pt>
                <c:pt idx="110">
                  <c:v>22.06.21</c:v>
                </c:pt>
                <c:pt idx="111">
                  <c:v>23.06.21</c:v>
                </c:pt>
                <c:pt idx="112">
                  <c:v>24.06.21</c:v>
                </c:pt>
                <c:pt idx="113">
                  <c:v>25.06.21</c:v>
                </c:pt>
                <c:pt idx="114">
                  <c:v>26.06.21</c:v>
                </c:pt>
                <c:pt idx="115">
                  <c:v>27.06.21</c:v>
                </c:pt>
                <c:pt idx="116">
                  <c:v>28.06.21</c:v>
                </c:pt>
                <c:pt idx="117">
                  <c:v>29.06.21</c:v>
                </c:pt>
                <c:pt idx="118">
                  <c:v>30.06.21</c:v>
                </c:pt>
                <c:pt idx="119">
                  <c:v>01.07.21</c:v>
                </c:pt>
                <c:pt idx="120">
                  <c:v>02.07.21</c:v>
                </c:pt>
                <c:pt idx="121">
                  <c:v>03.07.21</c:v>
                </c:pt>
                <c:pt idx="122">
                  <c:v>04.07.21</c:v>
                </c:pt>
                <c:pt idx="123">
                  <c:v>05.07.21</c:v>
                </c:pt>
                <c:pt idx="124">
                  <c:v>06.07.21</c:v>
                </c:pt>
                <c:pt idx="125">
                  <c:v>07.07.21</c:v>
                </c:pt>
                <c:pt idx="126">
                  <c:v>08.07.21</c:v>
                </c:pt>
              </c:strCache>
            </c:strRef>
          </c:cat>
          <c:val>
            <c:numRef>
              <c:f>List1!$B$4:$DX$4</c:f>
              <c:numCache>
                <c:formatCode>General</c:formatCode>
                <c:ptCount val="127"/>
                <c:pt idx="0">
                  <c:v>1320</c:v>
                </c:pt>
                <c:pt idx="1">
                  <c:v>1316</c:v>
                </c:pt>
                <c:pt idx="2">
                  <c:v>1248</c:v>
                </c:pt>
                <c:pt idx="3">
                  <c:v>1157</c:v>
                </c:pt>
                <c:pt idx="4">
                  <c:v>1129</c:v>
                </c:pt>
                <c:pt idx="5">
                  <c:v>1217</c:v>
                </c:pt>
                <c:pt idx="6">
                  <c:v>1304</c:v>
                </c:pt>
                <c:pt idx="7">
                  <c:v>1411</c:v>
                </c:pt>
                <c:pt idx="8">
                  <c:v>1538</c:v>
                </c:pt>
                <c:pt idx="9">
                  <c:v>1600</c:v>
                </c:pt>
                <c:pt idx="10">
                  <c:v>1631</c:v>
                </c:pt>
                <c:pt idx="11">
                  <c:v>1540</c:v>
                </c:pt>
                <c:pt idx="12">
                  <c:v>1508</c:v>
                </c:pt>
                <c:pt idx="13">
                  <c:v>1448</c:v>
                </c:pt>
                <c:pt idx="14">
                  <c:v>1390</c:v>
                </c:pt>
                <c:pt idx="15">
                  <c:v>1321</c:v>
                </c:pt>
                <c:pt idx="16">
                  <c:v>1309</c:v>
                </c:pt>
                <c:pt idx="17">
                  <c:v>1287</c:v>
                </c:pt>
                <c:pt idx="18">
                  <c:v>1210</c:v>
                </c:pt>
                <c:pt idx="19">
                  <c:v>1142</c:v>
                </c:pt>
                <c:pt idx="20">
                  <c:v>1089</c:v>
                </c:pt>
                <c:pt idx="21">
                  <c:v>1034</c:v>
                </c:pt>
                <c:pt idx="22">
                  <c:v>989</c:v>
                </c:pt>
                <c:pt idx="23">
                  <c:v>960</c:v>
                </c:pt>
                <c:pt idx="24">
                  <c:v>937</c:v>
                </c:pt>
                <c:pt idx="25">
                  <c:v>852</c:v>
                </c:pt>
                <c:pt idx="26">
                  <c:v>818</c:v>
                </c:pt>
                <c:pt idx="27">
                  <c:v>794</c:v>
                </c:pt>
                <c:pt idx="28">
                  <c:v>748</c:v>
                </c:pt>
                <c:pt idx="29">
                  <c:v>699</c:v>
                </c:pt>
                <c:pt idx="30">
                  <c:v>689</c:v>
                </c:pt>
                <c:pt idx="31">
                  <c:v>681</c:v>
                </c:pt>
                <c:pt idx="32">
                  <c:v>592</c:v>
                </c:pt>
                <c:pt idx="33">
                  <c:v>565</c:v>
                </c:pt>
                <c:pt idx="34">
                  <c:v>542</c:v>
                </c:pt>
                <c:pt idx="35">
                  <c:v>530</c:v>
                </c:pt>
                <c:pt idx="36">
                  <c:v>515</c:v>
                </c:pt>
                <c:pt idx="37">
                  <c:v>517</c:v>
                </c:pt>
                <c:pt idx="38">
                  <c:v>510</c:v>
                </c:pt>
                <c:pt idx="39">
                  <c:v>452</c:v>
                </c:pt>
                <c:pt idx="40">
                  <c:v>416</c:v>
                </c:pt>
                <c:pt idx="41">
                  <c:v>387</c:v>
                </c:pt>
                <c:pt idx="42">
                  <c:v>373</c:v>
                </c:pt>
                <c:pt idx="43">
                  <c:v>377</c:v>
                </c:pt>
                <c:pt idx="44">
                  <c:v>364</c:v>
                </c:pt>
                <c:pt idx="45">
                  <c:v>362</c:v>
                </c:pt>
                <c:pt idx="46">
                  <c:v>375</c:v>
                </c:pt>
                <c:pt idx="47">
                  <c:v>337</c:v>
                </c:pt>
                <c:pt idx="48">
                  <c:v>321</c:v>
                </c:pt>
                <c:pt idx="49">
                  <c:v>296</c:v>
                </c:pt>
                <c:pt idx="50">
                  <c:v>274</c:v>
                </c:pt>
                <c:pt idx="51">
                  <c:v>268</c:v>
                </c:pt>
                <c:pt idx="52">
                  <c:v>264</c:v>
                </c:pt>
                <c:pt idx="53">
                  <c:v>248</c:v>
                </c:pt>
                <c:pt idx="54">
                  <c:v>234</c:v>
                </c:pt>
                <c:pt idx="55">
                  <c:v>226</c:v>
                </c:pt>
                <c:pt idx="56">
                  <c:v>230</c:v>
                </c:pt>
                <c:pt idx="57">
                  <c:v>228</c:v>
                </c:pt>
                <c:pt idx="58">
                  <c:v>226</c:v>
                </c:pt>
                <c:pt idx="59">
                  <c:v>225</c:v>
                </c:pt>
                <c:pt idx="60">
                  <c:v>207</c:v>
                </c:pt>
                <c:pt idx="61">
                  <c:v>199</c:v>
                </c:pt>
                <c:pt idx="62">
                  <c:v>185</c:v>
                </c:pt>
                <c:pt idx="63">
                  <c:v>186</c:v>
                </c:pt>
                <c:pt idx="64">
                  <c:v>187</c:v>
                </c:pt>
                <c:pt idx="65">
                  <c:v>187</c:v>
                </c:pt>
                <c:pt idx="66">
                  <c:v>184</c:v>
                </c:pt>
                <c:pt idx="67">
                  <c:v>170</c:v>
                </c:pt>
                <c:pt idx="68">
                  <c:v>171</c:v>
                </c:pt>
                <c:pt idx="69">
                  <c:v>165</c:v>
                </c:pt>
                <c:pt idx="70">
                  <c:v>154</c:v>
                </c:pt>
                <c:pt idx="71">
                  <c:v>144</c:v>
                </c:pt>
                <c:pt idx="72">
                  <c:v>146</c:v>
                </c:pt>
                <c:pt idx="73">
                  <c:v>146</c:v>
                </c:pt>
                <c:pt idx="74">
                  <c:v>136</c:v>
                </c:pt>
                <c:pt idx="75">
                  <c:v>126</c:v>
                </c:pt>
                <c:pt idx="76">
                  <c:v>116</c:v>
                </c:pt>
                <c:pt idx="77">
                  <c:v>109</c:v>
                </c:pt>
                <c:pt idx="78">
                  <c:v>100</c:v>
                </c:pt>
                <c:pt idx="79">
                  <c:v>99</c:v>
                </c:pt>
                <c:pt idx="80">
                  <c:v>97</c:v>
                </c:pt>
                <c:pt idx="81">
                  <c:v>89</c:v>
                </c:pt>
                <c:pt idx="82">
                  <c:v>75</c:v>
                </c:pt>
                <c:pt idx="83">
                  <c:v>70</c:v>
                </c:pt>
                <c:pt idx="84">
                  <c:v>61</c:v>
                </c:pt>
                <c:pt idx="85">
                  <c:v>52</c:v>
                </c:pt>
                <c:pt idx="86">
                  <c:v>51</c:v>
                </c:pt>
                <c:pt idx="87">
                  <c:v>51</c:v>
                </c:pt>
                <c:pt idx="88">
                  <c:v>45</c:v>
                </c:pt>
                <c:pt idx="89">
                  <c:v>40</c:v>
                </c:pt>
                <c:pt idx="90">
                  <c:v>36</c:v>
                </c:pt>
                <c:pt idx="91">
                  <c:v>34</c:v>
                </c:pt>
                <c:pt idx="92">
                  <c:v>30</c:v>
                </c:pt>
                <c:pt idx="93">
                  <c:v>31</c:v>
                </c:pt>
                <c:pt idx="94">
                  <c:v>30</c:v>
                </c:pt>
                <c:pt idx="95">
                  <c:v>27</c:v>
                </c:pt>
                <c:pt idx="96">
                  <c:v>26</c:v>
                </c:pt>
                <c:pt idx="97">
                  <c:v>25</c:v>
                </c:pt>
                <c:pt idx="98">
                  <c:v>24</c:v>
                </c:pt>
                <c:pt idx="99">
                  <c:v>22</c:v>
                </c:pt>
                <c:pt idx="100">
                  <c:v>22</c:v>
                </c:pt>
                <c:pt idx="101">
                  <c:v>22</c:v>
                </c:pt>
                <c:pt idx="102">
                  <c:v>19</c:v>
                </c:pt>
                <c:pt idx="103">
                  <c:v>18</c:v>
                </c:pt>
                <c:pt idx="104">
                  <c:v>18</c:v>
                </c:pt>
                <c:pt idx="105">
                  <c:v>19</c:v>
                </c:pt>
                <c:pt idx="106">
                  <c:v>19</c:v>
                </c:pt>
                <c:pt idx="107">
                  <c:v>16</c:v>
                </c:pt>
                <c:pt idx="108">
                  <c:v>17</c:v>
                </c:pt>
                <c:pt idx="109">
                  <c:v>16</c:v>
                </c:pt>
                <c:pt idx="110">
                  <c:v>14</c:v>
                </c:pt>
                <c:pt idx="111">
                  <c:v>16</c:v>
                </c:pt>
                <c:pt idx="112">
                  <c:v>16</c:v>
                </c:pt>
                <c:pt idx="113">
                  <c:v>15</c:v>
                </c:pt>
                <c:pt idx="114">
                  <c:v>16</c:v>
                </c:pt>
                <c:pt idx="115">
                  <c:v>17</c:v>
                </c:pt>
                <c:pt idx="116">
                  <c:v>17</c:v>
                </c:pt>
                <c:pt idx="117">
                  <c:v>17</c:v>
                </c:pt>
                <c:pt idx="118">
                  <c:v>17</c:v>
                </c:pt>
                <c:pt idx="119">
                  <c:v>16</c:v>
                </c:pt>
                <c:pt idx="120">
                  <c:v>16</c:v>
                </c:pt>
                <c:pt idx="121">
                  <c:v>14</c:v>
                </c:pt>
                <c:pt idx="122">
                  <c:v>14</c:v>
                </c:pt>
                <c:pt idx="123">
                  <c:v>14</c:v>
                </c:pt>
                <c:pt idx="124">
                  <c:v>15</c:v>
                </c:pt>
                <c:pt idx="125">
                  <c:v>15</c:v>
                </c:pt>
                <c:pt idx="126">
                  <c:v>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46373336375452E-2"/>
          <c:y val="2.9235580326475268E-2"/>
          <c:w val="0.7481746992431868"/>
          <c:h val="0.84252851457794231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racovníci v zařízeních sociálních služeb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0"/>
                  <c:y val="-1.663132121161326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rgbClr val="002060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78D-4A9E-835E-C0CA09B7B5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206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A$2:$A$184</c:f>
              <c:numCache>
                <c:formatCode>dd/mm/yy;@</c:formatCode>
                <c:ptCount val="183"/>
                <c:pt idx="0">
                  <c:v>44203</c:v>
                </c:pt>
                <c:pt idx="1">
                  <c:v>44204</c:v>
                </c:pt>
                <c:pt idx="2">
                  <c:v>44205</c:v>
                </c:pt>
                <c:pt idx="3">
                  <c:v>44206</c:v>
                </c:pt>
                <c:pt idx="4">
                  <c:v>44207</c:v>
                </c:pt>
                <c:pt idx="5">
                  <c:v>44208</c:v>
                </c:pt>
                <c:pt idx="6">
                  <c:v>44209</c:v>
                </c:pt>
                <c:pt idx="7">
                  <c:v>44210</c:v>
                </c:pt>
                <c:pt idx="8">
                  <c:v>44211</c:v>
                </c:pt>
                <c:pt idx="9">
                  <c:v>44212</c:v>
                </c:pt>
                <c:pt idx="10">
                  <c:v>44213</c:v>
                </c:pt>
                <c:pt idx="11">
                  <c:v>44214</c:v>
                </c:pt>
                <c:pt idx="12">
                  <c:v>44215</c:v>
                </c:pt>
                <c:pt idx="13">
                  <c:v>44216</c:v>
                </c:pt>
                <c:pt idx="14">
                  <c:v>44217</c:v>
                </c:pt>
                <c:pt idx="15">
                  <c:v>44218</c:v>
                </c:pt>
                <c:pt idx="16">
                  <c:v>44219</c:v>
                </c:pt>
                <c:pt idx="17">
                  <c:v>44220</c:v>
                </c:pt>
                <c:pt idx="18">
                  <c:v>44221</c:v>
                </c:pt>
                <c:pt idx="19">
                  <c:v>44222</c:v>
                </c:pt>
                <c:pt idx="20">
                  <c:v>44223</c:v>
                </c:pt>
                <c:pt idx="21">
                  <c:v>44224</c:v>
                </c:pt>
                <c:pt idx="22">
                  <c:v>44225</c:v>
                </c:pt>
                <c:pt idx="23">
                  <c:v>44226</c:v>
                </c:pt>
                <c:pt idx="24">
                  <c:v>44227</c:v>
                </c:pt>
                <c:pt idx="25">
                  <c:v>44228</c:v>
                </c:pt>
                <c:pt idx="26">
                  <c:v>44229</c:v>
                </c:pt>
                <c:pt idx="27">
                  <c:v>44230</c:v>
                </c:pt>
                <c:pt idx="28">
                  <c:v>44231</c:v>
                </c:pt>
                <c:pt idx="29">
                  <c:v>44232</c:v>
                </c:pt>
                <c:pt idx="30">
                  <c:v>44233</c:v>
                </c:pt>
                <c:pt idx="31">
                  <c:v>44234</c:v>
                </c:pt>
                <c:pt idx="32">
                  <c:v>44235</c:v>
                </c:pt>
                <c:pt idx="33">
                  <c:v>44236</c:v>
                </c:pt>
                <c:pt idx="34">
                  <c:v>44237</c:v>
                </c:pt>
                <c:pt idx="35">
                  <c:v>44238</c:v>
                </c:pt>
                <c:pt idx="36">
                  <c:v>44239</c:v>
                </c:pt>
                <c:pt idx="37">
                  <c:v>44240</c:v>
                </c:pt>
                <c:pt idx="38">
                  <c:v>44241</c:v>
                </c:pt>
                <c:pt idx="39">
                  <c:v>44242</c:v>
                </c:pt>
                <c:pt idx="40">
                  <c:v>44243</c:v>
                </c:pt>
                <c:pt idx="41">
                  <c:v>44244</c:v>
                </c:pt>
                <c:pt idx="42">
                  <c:v>44245</c:v>
                </c:pt>
                <c:pt idx="43">
                  <c:v>44246</c:v>
                </c:pt>
                <c:pt idx="44">
                  <c:v>44247</c:v>
                </c:pt>
                <c:pt idx="45">
                  <c:v>44248</c:v>
                </c:pt>
                <c:pt idx="46">
                  <c:v>44249</c:v>
                </c:pt>
                <c:pt idx="47">
                  <c:v>44250</c:v>
                </c:pt>
                <c:pt idx="48">
                  <c:v>44251</c:v>
                </c:pt>
                <c:pt idx="49">
                  <c:v>44252</c:v>
                </c:pt>
                <c:pt idx="50">
                  <c:v>44253</c:v>
                </c:pt>
                <c:pt idx="51">
                  <c:v>44254</c:v>
                </c:pt>
                <c:pt idx="52">
                  <c:v>44255</c:v>
                </c:pt>
                <c:pt idx="53">
                  <c:v>44256</c:v>
                </c:pt>
                <c:pt idx="54">
                  <c:v>44257</c:v>
                </c:pt>
                <c:pt idx="55">
                  <c:v>44258</c:v>
                </c:pt>
                <c:pt idx="56">
                  <c:v>44259</c:v>
                </c:pt>
                <c:pt idx="57">
                  <c:v>44260</c:v>
                </c:pt>
                <c:pt idx="58">
                  <c:v>44261</c:v>
                </c:pt>
                <c:pt idx="59">
                  <c:v>44262</c:v>
                </c:pt>
                <c:pt idx="60">
                  <c:v>44263</c:v>
                </c:pt>
                <c:pt idx="61">
                  <c:v>44264</c:v>
                </c:pt>
                <c:pt idx="62">
                  <c:v>44265</c:v>
                </c:pt>
                <c:pt idx="63">
                  <c:v>44266</c:v>
                </c:pt>
                <c:pt idx="64">
                  <c:v>44267</c:v>
                </c:pt>
                <c:pt idx="65">
                  <c:v>44268</c:v>
                </c:pt>
                <c:pt idx="66">
                  <c:v>44269</c:v>
                </c:pt>
                <c:pt idx="67">
                  <c:v>44270</c:v>
                </c:pt>
                <c:pt idx="68">
                  <c:v>44271</c:v>
                </c:pt>
                <c:pt idx="69">
                  <c:v>44272</c:v>
                </c:pt>
                <c:pt idx="70">
                  <c:v>44273</c:v>
                </c:pt>
                <c:pt idx="71">
                  <c:v>44274</c:v>
                </c:pt>
                <c:pt idx="72">
                  <c:v>44275</c:v>
                </c:pt>
                <c:pt idx="73">
                  <c:v>44276</c:v>
                </c:pt>
                <c:pt idx="74">
                  <c:v>44277</c:v>
                </c:pt>
                <c:pt idx="75">
                  <c:v>44278</c:v>
                </c:pt>
                <c:pt idx="76">
                  <c:v>44279</c:v>
                </c:pt>
                <c:pt idx="77">
                  <c:v>44280</c:v>
                </c:pt>
                <c:pt idx="78">
                  <c:v>44281</c:v>
                </c:pt>
                <c:pt idx="79">
                  <c:v>44282</c:v>
                </c:pt>
                <c:pt idx="80">
                  <c:v>44283</c:v>
                </c:pt>
                <c:pt idx="81">
                  <c:v>44284</c:v>
                </c:pt>
                <c:pt idx="82">
                  <c:v>44285</c:v>
                </c:pt>
                <c:pt idx="83">
                  <c:v>44286</c:v>
                </c:pt>
                <c:pt idx="84">
                  <c:v>44287</c:v>
                </c:pt>
                <c:pt idx="85">
                  <c:v>44288</c:v>
                </c:pt>
                <c:pt idx="86">
                  <c:v>44289</c:v>
                </c:pt>
                <c:pt idx="87">
                  <c:v>44290</c:v>
                </c:pt>
                <c:pt idx="88">
                  <c:v>44291</c:v>
                </c:pt>
                <c:pt idx="89">
                  <c:v>44292</c:v>
                </c:pt>
                <c:pt idx="90">
                  <c:v>44293</c:v>
                </c:pt>
                <c:pt idx="91">
                  <c:v>44294</c:v>
                </c:pt>
                <c:pt idx="92">
                  <c:v>44295</c:v>
                </c:pt>
                <c:pt idx="93">
                  <c:v>44296</c:v>
                </c:pt>
                <c:pt idx="94">
                  <c:v>44297</c:v>
                </c:pt>
                <c:pt idx="95">
                  <c:v>44298</c:v>
                </c:pt>
                <c:pt idx="96">
                  <c:v>44299</c:v>
                </c:pt>
                <c:pt idx="97">
                  <c:v>44300</c:v>
                </c:pt>
                <c:pt idx="98">
                  <c:v>44301</c:v>
                </c:pt>
                <c:pt idx="99">
                  <c:v>44302</c:v>
                </c:pt>
                <c:pt idx="100">
                  <c:v>44303</c:v>
                </c:pt>
                <c:pt idx="101">
                  <c:v>44304</c:v>
                </c:pt>
                <c:pt idx="102">
                  <c:v>44305</c:v>
                </c:pt>
                <c:pt idx="103">
                  <c:v>44306</c:v>
                </c:pt>
                <c:pt idx="104">
                  <c:v>44307</c:v>
                </c:pt>
                <c:pt idx="105">
                  <c:v>44308</c:v>
                </c:pt>
                <c:pt idx="106">
                  <c:v>44309</c:v>
                </c:pt>
                <c:pt idx="107">
                  <c:v>44310</c:v>
                </c:pt>
                <c:pt idx="108">
                  <c:v>44311</c:v>
                </c:pt>
                <c:pt idx="109">
                  <c:v>44312</c:v>
                </c:pt>
                <c:pt idx="110">
                  <c:v>44313</c:v>
                </c:pt>
                <c:pt idx="111">
                  <c:v>44314</c:v>
                </c:pt>
                <c:pt idx="112">
                  <c:v>44315</c:v>
                </c:pt>
                <c:pt idx="113">
                  <c:v>44316</c:v>
                </c:pt>
                <c:pt idx="114">
                  <c:v>44317</c:v>
                </c:pt>
                <c:pt idx="115">
                  <c:v>44318</c:v>
                </c:pt>
                <c:pt idx="116">
                  <c:v>44319</c:v>
                </c:pt>
                <c:pt idx="117">
                  <c:v>44320</c:v>
                </c:pt>
                <c:pt idx="118">
                  <c:v>44321</c:v>
                </c:pt>
                <c:pt idx="119">
                  <c:v>44322</c:v>
                </c:pt>
                <c:pt idx="120">
                  <c:v>44323</c:v>
                </c:pt>
                <c:pt idx="121">
                  <c:v>44324</c:v>
                </c:pt>
                <c:pt idx="122">
                  <c:v>44325</c:v>
                </c:pt>
                <c:pt idx="123">
                  <c:v>44326</c:v>
                </c:pt>
                <c:pt idx="124">
                  <c:v>44327</c:v>
                </c:pt>
                <c:pt idx="125">
                  <c:v>44328</c:v>
                </c:pt>
                <c:pt idx="126">
                  <c:v>44329</c:v>
                </c:pt>
                <c:pt idx="127">
                  <c:v>44330</c:v>
                </c:pt>
                <c:pt idx="128">
                  <c:v>44331</c:v>
                </c:pt>
                <c:pt idx="129">
                  <c:v>44332</c:v>
                </c:pt>
                <c:pt idx="130">
                  <c:v>44333</c:v>
                </c:pt>
                <c:pt idx="131">
                  <c:v>44334</c:v>
                </c:pt>
                <c:pt idx="132">
                  <c:v>44335</c:v>
                </c:pt>
                <c:pt idx="133">
                  <c:v>44336</c:v>
                </c:pt>
                <c:pt idx="134">
                  <c:v>44337</c:v>
                </c:pt>
                <c:pt idx="135">
                  <c:v>44338</c:v>
                </c:pt>
                <c:pt idx="136">
                  <c:v>44339</c:v>
                </c:pt>
                <c:pt idx="137">
                  <c:v>44340</c:v>
                </c:pt>
                <c:pt idx="138">
                  <c:v>44341</c:v>
                </c:pt>
                <c:pt idx="139">
                  <c:v>44342</c:v>
                </c:pt>
                <c:pt idx="140">
                  <c:v>44343</c:v>
                </c:pt>
                <c:pt idx="141">
                  <c:v>44344</c:v>
                </c:pt>
                <c:pt idx="142">
                  <c:v>44345</c:v>
                </c:pt>
                <c:pt idx="143">
                  <c:v>44346</c:v>
                </c:pt>
                <c:pt idx="144">
                  <c:v>44347</c:v>
                </c:pt>
                <c:pt idx="145">
                  <c:v>44348</c:v>
                </c:pt>
                <c:pt idx="146">
                  <c:v>44349</c:v>
                </c:pt>
                <c:pt idx="147">
                  <c:v>44350</c:v>
                </c:pt>
                <c:pt idx="148">
                  <c:v>44351</c:v>
                </c:pt>
                <c:pt idx="149">
                  <c:v>44352</c:v>
                </c:pt>
                <c:pt idx="150">
                  <c:v>44353</c:v>
                </c:pt>
                <c:pt idx="151">
                  <c:v>44354</c:v>
                </c:pt>
                <c:pt idx="152">
                  <c:v>44355</c:v>
                </c:pt>
                <c:pt idx="153">
                  <c:v>44356</c:v>
                </c:pt>
                <c:pt idx="154">
                  <c:v>44357</c:v>
                </c:pt>
                <c:pt idx="155">
                  <c:v>44358</c:v>
                </c:pt>
                <c:pt idx="156">
                  <c:v>44359</c:v>
                </c:pt>
                <c:pt idx="157">
                  <c:v>44360</c:v>
                </c:pt>
                <c:pt idx="158">
                  <c:v>44361</c:v>
                </c:pt>
                <c:pt idx="159">
                  <c:v>44362</c:v>
                </c:pt>
                <c:pt idx="160">
                  <c:v>44363</c:v>
                </c:pt>
                <c:pt idx="161">
                  <c:v>44364</c:v>
                </c:pt>
                <c:pt idx="162">
                  <c:v>44365</c:v>
                </c:pt>
                <c:pt idx="163">
                  <c:v>44366</c:v>
                </c:pt>
                <c:pt idx="164">
                  <c:v>44367</c:v>
                </c:pt>
                <c:pt idx="165">
                  <c:v>44368</c:v>
                </c:pt>
                <c:pt idx="166">
                  <c:v>44369</c:v>
                </c:pt>
                <c:pt idx="167">
                  <c:v>44370</c:v>
                </c:pt>
                <c:pt idx="168">
                  <c:v>44371</c:v>
                </c:pt>
                <c:pt idx="169">
                  <c:v>44372</c:v>
                </c:pt>
                <c:pt idx="170">
                  <c:v>44373</c:v>
                </c:pt>
                <c:pt idx="171">
                  <c:v>44374</c:v>
                </c:pt>
                <c:pt idx="172">
                  <c:v>44375</c:v>
                </c:pt>
                <c:pt idx="173">
                  <c:v>44376</c:v>
                </c:pt>
                <c:pt idx="174">
                  <c:v>44377</c:v>
                </c:pt>
                <c:pt idx="175">
                  <c:v>44378</c:v>
                </c:pt>
                <c:pt idx="176">
                  <c:v>44379</c:v>
                </c:pt>
                <c:pt idx="177">
                  <c:v>44380</c:v>
                </c:pt>
                <c:pt idx="178">
                  <c:v>44381</c:v>
                </c:pt>
                <c:pt idx="179">
                  <c:v>44382</c:v>
                </c:pt>
                <c:pt idx="180">
                  <c:v>44383</c:v>
                </c:pt>
                <c:pt idx="181">
                  <c:v>44384</c:v>
                </c:pt>
                <c:pt idx="182">
                  <c:v>44385</c:v>
                </c:pt>
              </c:numCache>
            </c:numRef>
          </c:cat>
          <c:val>
            <c:numRef>
              <c:f>List1!$B$2:$B$184</c:f>
              <c:numCache>
                <c:formatCode>General</c:formatCode>
                <c:ptCount val="183"/>
                <c:pt idx="0">
                  <c:v>1743</c:v>
                </c:pt>
                <c:pt idx="1">
                  <c:v>1642</c:v>
                </c:pt>
                <c:pt idx="2">
                  <c:v>1527</c:v>
                </c:pt>
                <c:pt idx="3">
                  <c:v>1408</c:v>
                </c:pt>
                <c:pt idx="4">
                  <c:v>1550</c:v>
                </c:pt>
                <c:pt idx="5">
                  <c:v>1633</c:v>
                </c:pt>
                <c:pt idx="6">
                  <c:v>1702</c:v>
                </c:pt>
                <c:pt idx="7">
                  <c:v>1702</c:v>
                </c:pt>
                <c:pt idx="8">
                  <c:v>1559</c:v>
                </c:pt>
                <c:pt idx="9">
                  <c:v>1416</c:v>
                </c:pt>
                <c:pt idx="10">
                  <c:v>1308</c:v>
                </c:pt>
                <c:pt idx="11">
                  <c:v>1303</c:v>
                </c:pt>
                <c:pt idx="12">
                  <c:v>1253</c:v>
                </c:pt>
                <c:pt idx="13">
                  <c:v>1285</c:v>
                </c:pt>
                <c:pt idx="14">
                  <c:v>1311</c:v>
                </c:pt>
                <c:pt idx="15">
                  <c:v>1216</c:v>
                </c:pt>
                <c:pt idx="16">
                  <c:v>1140</c:v>
                </c:pt>
                <c:pt idx="17">
                  <c:v>1030</c:v>
                </c:pt>
                <c:pt idx="18">
                  <c:v>1043</c:v>
                </c:pt>
                <c:pt idx="19">
                  <c:v>1047</c:v>
                </c:pt>
                <c:pt idx="20">
                  <c:v>1072</c:v>
                </c:pt>
                <c:pt idx="21">
                  <c:v>1084</c:v>
                </c:pt>
                <c:pt idx="22">
                  <c:v>999</c:v>
                </c:pt>
                <c:pt idx="23">
                  <c:v>933</c:v>
                </c:pt>
                <c:pt idx="24">
                  <c:v>855</c:v>
                </c:pt>
                <c:pt idx="25">
                  <c:v>873</c:v>
                </c:pt>
                <c:pt idx="26">
                  <c:v>862</c:v>
                </c:pt>
                <c:pt idx="27">
                  <c:v>896</c:v>
                </c:pt>
                <c:pt idx="28">
                  <c:v>916</c:v>
                </c:pt>
                <c:pt idx="29">
                  <c:v>861</c:v>
                </c:pt>
                <c:pt idx="30">
                  <c:v>791</c:v>
                </c:pt>
                <c:pt idx="31">
                  <c:v>749</c:v>
                </c:pt>
                <c:pt idx="32">
                  <c:v>770</c:v>
                </c:pt>
                <c:pt idx="33">
                  <c:v>738</c:v>
                </c:pt>
                <c:pt idx="34">
                  <c:v>755</c:v>
                </c:pt>
                <c:pt idx="35">
                  <c:v>780</c:v>
                </c:pt>
                <c:pt idx="36">
                  <c:v>742</c:v>
                </c:pt>
                <c:pt idx="37">
                  <c:v>683</c:v>
                </c:pt>
                <c:pt idx="38">
                  <c:v>631</c:v>
                </c:pt>
                <c:pt idx="39">
                  <c:v>648</c:v>
                </c:pt>
                <c:pt idx="40">
                  <c:v>638</c:v>
                </c:pt>
                <c:pt idx="41">
                  <c:v>658</c:v>
                </c:pt>
                <c:pt idx="42">
                  <c:v>672</c:v>
                </c:pt>
                <c:pt idx="43">
                  <c:v>642</c:v>
                </c:pt>
                <c:pt idx="44">
                  <c:v>603</c:v>
                </c:pt>
                <c:pt idx="45">
                  <c:v>576</c:v>
                </c:pt>
                <c:pt idx="46">
                  <c:v>604</c:v>
                </c:pt>
                <c:pt idx="47">
                  <c:v>616</c:v>
                </c:pt>
                <c:pt idx="48">
                  <c:v>632</c:v>
                </c:pt>
                <c:pt idx="49">
                  <c:v>656</c:v>
                </c:pt>
                <c:pt idx="50">
                  <c:v>634</c:v>
                </c:pt>
                <c:pt idx="51">
                  <c:v>585</c:v>
                </c:pt>
                <c:pt idx="52">
                  <c:v>550</c:v>
                </c:pt>
                <c:pt idx="53">
                  <c:v>572</c:v>
                </c:pt>
                <c:pt idx="54">
                  <c:v>566</c:v>
                </c:pt>
                <c:pt idx="55">
                  <c:v>606</c:v>
                </c:pt>
                <c:pt idx="56">
                  <c:v>627</c:v>
                </c:pt>
                <c:pt idx="57">
                  <c:v>577</c:v>
                </c:pt>
                <c:pt idx="58">
                  <c:v>525</c:v>
                </c:pt>
                <c:pt idx="59">
                  <c:v>493</c:v>
                </c:pt>
                <c:pt idx="60">
                  <c:v>510</c:v>
                </c:pt>
                <c:pt idx="61">
                  <c:v>496</c:v>
                </c:pt>
                <c:pt idx="62">
                  <c:v>516</c:v>
                </c:pt>
                <c:pt idx="63">
                  <c:v>530</c:v>
                </c:pt>
                <c:pt idx="64">
                  <c:v>546</c:v>
                </c:pt>
                <c:pt idx="65">
                  <c:v>556</c:v>
                </c:pt>
                <c:pt idx="66">
                  <c:v>562</c:v>
                </c:pt>
                <c:pt idx="67">
                  <c:v>596</c:v>
                </c:pt>
                <c:pt idx="68">
                  <c:v>559</c:v>
                </c:pt>
                <c:pt idx="69">
                  <c:v>535</c:v>
                </c:pt>
                <c:pt idx="70">
                  <c:v>497</c:v>
                </c:pt>
                <c:pt idx="71">
                  <c:v>476</c:v>
                </c:pt>
                <c:pt idx="72">
                  <c:v>443</c:v>
                </c:pt>
                <c:pt idx="73">
                  <c:v>438</c:v>
                </c:pt>
                <c:pt idx="74">
                  <c:v>458</c:v>
                </c:pt>
                <c:pt idx="75">
                  <c:v>413</c:v>
                </c:pt>
                <c:pt idx="76">
                  <c:v>388</c:v>
                </c:pt>
                <c:pt idx="77">
                  <c:v>360</c:v>
                </c:pt>
                <c:pt idx="78">
                  <c:v>348</c:v>
                </c:pt>
                <c:pt idx="79">
                  <c:v>325</c:v>
                </c:pt>
                <c:pt idx="80">
                  <c:v>317</c:v>
                </c:pt>
                <c:pt idx="81">
                  <c:v>323</c:v>
                </c:pt>
                <c:pt idx="82">
                  <c:v>308</c:v>
                </c:pt>
                <c:pt idx="83">
                  <c:v>280</c:v>
                </c:pt>
                <c:pt idx="84">
                  <c:v>271</c:v>
                </c:pt>
                <c:pt idx="85">
                  <c:v>246</c:v>
                </c:pt>
                <c:pt idx="86">
                  <c:v>230</c:v>
                </c:pt>
                <c:pt idx="87">
                  <c:v>229</c:v>
                </c:pt>
                <c:pt idx="88">
                  <c:v>231</c:v>
                </c:pt>
                <c:pt idx="89">
                  <c:v>216</c:v>
                </c:pt>
                <c:pt idx="90">
                  <c:v>208</c:v>
                </c:pt>
                <c:pt idx="91">
                  <c:v>206</c:v>
                </c:pt>
                <c:pt idx="92">
                  <c:v>200</c:v>
                </c:pt>
                <c:pt idx="93">
                  <c:v>185</c:v>
                </c:pt>
                <c:pt idx="94">
                  <c:v>181</c:v>
                </c:pt>
                <c:pt idx="95">
                  <c:v>186</c:v>
                </c:pt>
                <c:pt idx="96">
                  <c:v>162</c:v>
                </c:pt>
                <c:pt idx="97">
                  <c:v>155</c:v>
                </c:pt>
                <c:pt idx="98">
                  <c:v>148</c:v>
                </c:pt>
                <c:pt idx="99">
                  <c:v>145</c:v>
                </c:pt>
                <c:pt idx="100">
                  <c:v>144</c:v>
                </c:pt>
                <c:pt idx="101">
                  <c:v>141</c:v>
                </c:pt>
                <c:pt idx="102">
                  <c:v>149</c:v>
                </c:pt>
                <c:pt idx="103">
                  <c:v>143</c:v>
                </c:pt>
                <c:pt idx="104">
                  <c:v>119</c:v>
                </c:pt>
                <c:pt idx="105">
                  <c:v>101</c:v>
                </c:pt>
                <c:pt idx="106">
                  <c:v>93</c:v>
                </c:pt>
                <c:pt idx="107">
                  <c:v>86</c:v>
                </c:pt>
                <c:pt idx="108">
                  <c:v>84</c:v>
                </c:pt>
                <c:pt idx="109">
                  <c:v>86</c:v>
                </c:pt>
                <c:pt idx="110">
                  <c:v>81</c:v>
                </c:pt>
                <c:pt idx="111">
                  <c:v>76</c:v>
                </c:pt>
                <c:pt idx="112">
                  <c:v>72</c:v>
                </c:pt>
                <c:pt idx="113">
                  <c:v>68</c:v>
                </c:pt>
                <c:pt idx="114">
                  <c:v>65</c:v>
                </c:pt>
                <c:pt idx="115">
                  <c:v>64</c:v>
                </c:pt>
                <c:pt idx="116">
                  <c:v>66</c:v>
                </c:pt>
                <c:pt idx="117">
                  <c:v>55</c:v>
                </c:pt>
                <c:pt idx="118">
                  <c:v>51</c:v>
                </c:pt>
                <c:pt idx="119">
                  <c:v>50</c:v>
                </c:pt>
                <c:pt idx="120">
                  <c:v>48</c:v>
                </c:pt>
                <c:pt idx="121">
                  <c:v>43</c:v>
                </c:pt>
                <c:pt idx="122">
                  <c:v>41</c:v>
                </c:pt>
                <c:pt idx="123">
                  <c:v>42</c:v>
                </c:pt>
                <c:pt idx="124">
                  <c:v>38</c:v>
                </c:pt>
                <c:pt idx="125">
                  <c:v>34</c:v>
                </c:pt>
                <c:pt idx="126">
                  <c:v>34</c:v>
                </c:pt>
                <c:pt idx="127">
                  <c:v>34</c:v>
                </c:pt>
                <c:pt idx="128">
                  <c:v>31</c:v>
                </c:pt>
                <c:pt idx="129">
                  <c:v>31</c:v>
                </c:pt>
                <c:pt idx="130">
                  <c:v>32</c:v>
                </c:pt>
                <c:pt idx="131">
                  <c:v>33</c:v>
                </c:pt>
                <c:pt idx="132">
                  <c:v>29</c:v>
                </c:pt>
                <c:pt idx="133">
                  <c:v>29</c:v>
                </c:pt>
                <c:pt idx="134">
                  <c:v>29</c:v>
                </c:pt>
                <c:pt idx="135">
                  <c:v>26</c:v>
                </c:pt>
                <c:pt idx="136">
                  <c:v>26</c:v>
                </c:pt>
                <c:pt idx="137">
                  <c:v>27</c:v>
                </c:pt>
                <c:pt idx="138">
                  <c:v>25</c:v>
                </c:pt>
                <c:pt idx="139">
                  <c:v>22</c:v>
                </c:pt>
                <c:pt idx="140">
                  <c:v>20</c:v>
                </c:pt>
                <c:pt idx="141">
                  <c:v>18</c:v>
                </c:pt>
                <c:pt idx="142">
                  <c:v>16</c:v>
                </c:pt>
                <c:pt idx="143">
                  <c:v>16</c:v>
                </c:pt>
                <c:pt idx="144">
                  <c:v>15</c:v>
                </c:pt>
                <c:pt idx="145">
                  <c:v>12</c:v>
                </c:pt>
                <c:pt idx="146">
                  <c:v>9</c:v>
                </c:pt>
                <c:pt idx="147">
                  <c:v>8</c:v>
                </c:pt>
                <c:pt idx="148">
                  <c:v>7</c:v>
                </c:pt>
                <c:pt idx="149">
                  <c:v>7</c:v>
                </c:pt>
                <c:pt idx="150">
                  <c:v>7</c:v>
                </c:pt>
                <c:pt idx="151">
                  <c:v>6</c:v>
                </c:pt>
                <c:pt idx="152">
                  <c:v>4</c:v>
                </c:pt>
                <c:pt idx="153">
                  <c:v>2</c:v>
                </c:pt>
                <c:pt idx="154">
                  <c:v>2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2</c:v>
                </c:pt>
                <c:pt idx="159">
                  <c:v>2</c:v>
                </c:pt>
                <c:pt idx="160">
                  <c:v>2</c:v>
                </c:pt>
                <c:pt idx="161">
                  <c:v>1</c:v>
                </c:pt>
                <c:pt idx="162">
                  <c:v>1</c:v>
                </c:pt>
                <c:pt idx="163">
                  <c:v>1</c:v>
                </c:pt>
                <c:pt idx="164">
                  <c:v>1</c:v>
                </c:pt>
                <c:pt idx="165">
                  <c:v>1</c:v>
                </c:pt>
                <c:pt idx="166">
                  <c:v>1</c:v>
                </c:pt>
                <c:pt idx="167">
                  <c:v>1</c:v>
                </c:pt>
                <c:pt idx="168">
                  <c:v>1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1</c:v>
                </c:pt>
                <c:pt idx="176">
                  <c:v>1</c:v>
                </c:pt>
                <c:pt idx="177">
                  <c:v>1</c:v>
                </c:pt>
                <c:pt idx="178">
                  <c:v>1</c:v>
                </c:pt>
                <c:pt idx="179">
                  <c:v>1</c:v>
                </c:pt>
                <c:pt idx="180">
                  <c:v>1</c:v>
                </c:pt>
                <c:pt idx="181">
                  <c:v>1</c:v>
                </c:pt>
                <c:pt idx="182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dateAx>
        <c:axId val="604314152"/>
        <c:scaling>
          <c:orientation val="minMax"/>
        </c:scaling>
        <c:delete val="0"/>
        <c:axPos val="b"/>
        <c:numFmt formatCode="dd/mm/yy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Offset val="100"/>
        <c:baseTimeUnit val="days"/>
        <c:majorUnit val="7"/>
      </c:dateAx>
      <c:valAx>
        <c:axId val="6043121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3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6583</cdr:x>
      <cdr:y>0.80076</cdr:y>
    </cdr:from>
    <cdr:to>
      <cdr:x>0.33688</cdr:x>
      <cdr:y>0.88141</cdr:y>
    </cdr:to>
    <cdr:sp macro="" textlink="">
      <cdr:nvSpPr>
        <cdr:cNvPr id="2" name="TextovéPole 1">
          <a:extLst xmlns:a="http://schemas.openxmlformats.org/drawingml/2006/main">
            <a:ext uri="{FF2B5EF4-FFF2-40B4-BE49-F238E27FC236}">
              <a16:creationId xmlns:a16="http://schemas.microsoft.com/office/drawing/2014/main" id="{CD39493A-952A-4C25-8CEE-00DFEF475773}"/>
            </a:ext>
          </a:extLst>
        </cdr:cNvPr>
        <cdr:cNvSpPr txBox="1"/>
      </cdr:nvSpPr>
      <cdr:spPr>
        <a:xfrm xmlns:a="http://schemas.openxmlformats.org/drawingml/2006/main">
          <a:off x="1126537" y="4689439"/>
          <a:ext cx="1162050" cy="47236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cs-CZ" sz="1100" b="1" dirty="0">
              <a:solidFill>
                <a:srgbClr val="FFFFFF"/>
              </a:solidFill>
            </a:rPr>
            <a:t>Celkový počet dávek:</a:t>
          </a:r>
          <a:br>
            <a:rPr lang="cs-CZ" sz="1100" b="1" dirty="0">
              <a:solidFill>
                <a:srgbClr val="FFFFFF"/>
              </a:solidFill>
            </a:rPr>
          </a:br>
          <a:r>
            <a:rPr lang="cs-CZ" sz="1100" b="1" dirty="0">
              <a:solidFill>
                <a:srgbClr val="FFFFFF"/>
              </a:solidFill>
            </a:rPr>
            <a:t>1 444 672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03130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84567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10119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41814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97549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31398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58992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75614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42664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10984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9344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94175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985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4.png"/><Relationship Id="rId4" Type="http://schemas.openxmlformats.org/officeDocument/2006/relationships/image" Target="../media/image10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4.png"/><Relationship Id="rId4" Type="http://schemas.openxmlformats.org/officeDocument/2006/relationships/image" Target="../media/image10.sv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0.svg"/><Relationship Id="rId5" Type="http://schemas.openxmlformats.org/officeDocument/2006/relationships/image" Target="../media/image17.png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4961997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87273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235267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135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48421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21428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295594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080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62829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16052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878709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6C5CD43-27A1-41A8-A512-01DFDF72EF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9D6EDE5-5820-4DC6-94DA-D95C794B26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008B432-85BC-418F-A57C-253AFAA7F4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B0D9402-2D8E-4FB9-8161-8D00119F8B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2AECA71-E82F-4649-8A24-6636AFE63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650464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FDB54BB-D77B-411B-80A8-BB36F39E0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774C4F0-4F0B-4C37-9EFE-6D33C4980C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2754D4C-9569-4644-BD5E-3F00E03CF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D88293E-073F-4829-9267-A51A7ABC0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8175F46-C8C3-4B73-9A7E-9E6AFB393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1451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D5204B5-DA6E-4CCF-8869-93A591595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CCA1BCD-781F-4E2C-83B5-1BD52A9D9F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DA201BD-C892-4BFD-9C7E-602DA3004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62DFC0C-31CE-4594-AE22-75ACF9862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579E36E-5C1B-499E-A0E1-47EA5D2AA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95846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636ED-3604-40BB-81B1-33BFF7074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3DE2A32-280E-430F-89F0-02DD4ED6DE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60A0DD2-E959-4E7C-B84C-848CB1BAD2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79809F5-B5D9-4823-98A8-869F2ACF03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D9EA721-150E-4EB0-9ECF-FDE2E20F1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88906D8-2AB6-402F-81B1-8E63583A18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381314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CC5F3F2-E4F6-44D2-BC8D-3748A0189B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F487FE8-E5BA-4A5C-B0AF-5F8A194F39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6E29BA68-3FF4-469C-9253-26B2C5CECA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8A24C8C-7565-4369-B063-AC35EDADBA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A20FD93C-8945-45CC-8CDF-34EBF532A25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CB778519-F60E-4E11-9FF6-BD84A3546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F5C35377-4A42-4DE0-A17A-C3340CADB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C2D2A8A-CA4B-4E54-9860-5C67E34E7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917372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B55641E-5C1C-4BE3-B0F0-314BD78DF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9F0F57D-01A1-43E4-98AA-935B2DB6E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BC1C920E-6E2D-4E35-A596-F02A9BE08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CA80E791-6BEA-40B1-8749-6A82AE9ED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143021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46D963F-18FA-4F4E-B2F8-1765691B65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E9C04A24-2205-4108-BEEB-43B063A989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E34E1C0-8078-4D4A-A228-35D3572D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48035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E69380-9A73-474C-A071-8018E65EE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E42A117-78BD-4129-A892-24418F3499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0EA7F8D-C8DF-442B-90E1-19ED56C6BB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2D6E94F-FFB6-48F8-B695-EB528B1832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0BC1A3F-79EC-4A2F-A39B-7796828C82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D9F211B-0AD3-43A4-B9E9-E4C6C877E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775977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651DA92-9D49-47F2-A05F-A578FFF8D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AEFC7390-5A75-4225-8766-B58E6A2750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A32CB42-591C-4FFB-AD05-9752AFF629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8D622D7-BFF7-4AF2-8F8B-21A06ADD48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5F604F3D-AABB-471E-ACCC-F3A49E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6DC76618-CBA7-45DD-9E79-9D8BD1610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606045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529D1DB-75DA-485A-AB20-C869545EA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C099284-889E-4490-825C-0BC746C235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EEE6E0C-15EB-49C5-B1EA-A3370D21F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D1ACFAE-E677-40F0-BA16-EA27C59C7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E3CF5FB-35BC-42C4-B710-1801BEA23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71949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476EE0A7-C6D3-41EE-998F-37E80641B0A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8965B1C-45F0-4035-975C-1375F4ACA1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C10088C-D78F-4418-9E6B-832D4AC507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0ECDB32-A9A0-433B-AACF-943FAB23D4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A0D8614-1E95-47AF-98BF-68C5169AA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139966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19990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974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760409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830728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12688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90189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535141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182009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77160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61119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7026858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15664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6258779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2928863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54911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168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53119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5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5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  <p:sldLayoutId id="2147483673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6934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379562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4B21331-3533-4DCA-902D-340C5FDCB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50E7000-6EE4-4239-B7E3-AAC3A01940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77F4975-1139-46DC-ACC7-2B69CDCAD9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909051-5E68-48C3-980E-E7BADE00A9DF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16383B7-2D40-461F-8979-4123BD7D17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5E63E90-A2FF-4D88-ABBB-721BE3972A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82686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35631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7002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20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10" Type="http://schemas.openxmlformats.org/officeDocument/2006/relationships/chart" Target="../charts/chart4.xml"/><Relationship Id="rId4" Type="http://schemas.openxmlformats.org/officeDocument/2006/relationships/tags" Target="../tags/tag21.xml"/><Relationship Id="rId9" Type="http://schemas.openxmlformats.org/officeDocument/2006/relationships/chart" Target="../charts/char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31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tags" Target="../tags/tag36.xml"/><Relationship Id="rId7" Type="http://schemas.openxmlformats.org/officeDocument/2006/relationships/notesSlide" Target="../notesSlides/notesSlide1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notesSlide" Target="../notesSlides/notesSlide13.xml"/><Relationship Id="rId4" Type="http://schemas.openxmlformats.org/officeDocument/2006/relationships/tags" Target="../tags/tag42.xml"/><Relationship Id="rId9" Type="http://schemas.openxmlformats.org/officeDocument/2006/relationships/slideLayout" Target="../slideLayouts/slideLayout2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tags" Target="../tags/tag49.xml"/><Relationship Id="rId7" Type="http://schemas.openxmlformats.org/officeDocument/2006/relationships/notesSlide" Target="../notesSlides/notesSlide14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51.xml"/><Relationship Id="rId4" Type="http://schemas.openxmlformats.org/officeDocument/2006/relationships/tags" Target="../tags/tag5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tags" Target="../tags/tag54.xml"/><Relationship Id="rId7" Type="http://schemas.openxmlformats.org/officeDocument/2006/relationships/slideLayout" Target="../slideLayouts/slideLayout2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4" Type="http://schemas.openxmlformats.org/officeDocument/2006/relationships/tags" Target="../tags/tag55.xml"/><Relationship Id="rId9" Type="http://schemas.openxmlformats.org/officeDocument/2006/relationships/chart" Target="../charts/chart1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6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chart" Target="../charts/chart15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slideLayout" Target="../slideLayouts/slideLayout4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5" Type="http://schemas.openxmlformats.org/officeDocument/2006/relationships/tags" Target="../tags/tag67.xml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11" Type="http://schemas.openxmlformats.org/officeDocument/2006/relationships/chart" Target="../charts/chart16.xml"/><Relationship Id="rId5" Type="http://schemas.openxmlformats.org/officeDocument/2006/relationships/tags" Target="../tags/tag78.xml"/><Relationship Id="rId10" Type="http://schemas.openxmlformats.org/officeDocument/2006/relationships/slideLayout" Target="../slideLayouts/slideLayout45.xml"/><Relationship Id="rId4" Type="http://schemas.openxmlformats.org/officeDocument/2006/relationships/tags" Target="../tags/tag77.xml"/><Relationship Id="rId9" Type="http://schemas.openxmlformats.org/officeDocument/2006/relationships/tags" Target="../tags/tag8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chart" Target="../charts/chart17.xml"/><Relationship Id="rId5" Type="http://schemas.openxmlformats.org/officeDocument/2006/relationships/tags" Target="../tags/tag87.xml"/><Relationship Id="rId10" Type="http://schemas.openxmlformats.org/officeDocument/2006/relationships/slideLayout" Target="../slideLayouts/slideLayout45.xml"/><Relationship Id="rId4" Type="http://schemas.openxmlformats.org/officeDocument/2006/relationships/tags" Target="../tags/tag86.xml"/><Relationship Id="rId9" Type="http://schemas.openxmlformats.org/officeDocument/2006/relationships/tags" Target="../tags/tag9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4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Vybrané ukazatele a analýzy dokládající efekt vakcinace proti COVID-19 v populaci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8287460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Šipka dolů 5"/>
          <p:cNvSpPr/>
          <p:nvPr/>
        </p:nvSpPr>
        <p:spPr>
          <a:xfrm>
            <a:off x="4969363" y="433740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20706" y="1814844"/>
            <a:ext cx="11249025" cy="22323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Lze učinit jednoznačný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 závěr, že očkování zásadně snižuje riziko následné nákazy a zejména těžkého průběhu nemoci. Nákazy zachycené po vakcinaci představují pouze zanedbatelný podíl všech nově potvrzených případů COVID-19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416379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60" y="0"/>
            <a:ext cx="7434501" cy="576000"/>
          </a:xfrm>
        </p:spPr>
        <p:txBody>
          <a:bodyPr/>
          <a:lstStyle/>
          <a:p>
            <a:r>
              <a:rPr lang="cs-CZ" dirty="0"/>
              <a:t>COVID-19</a:t>
            </a:r>
            <a:r>
              <a:rPr lang="en-US" dirty="0"/>
              <a:t> Pozitivita po </a:t>
            </a:r>
            <a:r>
              <a:rPr lang="cs-CZ" dirty="0"/>
              <a:t>očkování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FECEF900-ADC6-4104-962F-F364E3D9D38A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47036" y="924675"/>
          <a:ext cx="6793503" cy="58562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0" name="Graf 19">
            <a:extLst>
              <a:ext uri="{FF2B5EF4-FFF2-40B4-BE49-F238E27FC236}">
                <a16:creationId xmlns:a16="http://schemas.microsoft.com/office/drawing/2014/main" id="{C3FCCE22-ED0B-4852-846A-8555FA5337E6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7140539" y="2291138"/>
          <a:ext cx="4808904" cy="27209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6" name="Obdélník 5">
            <a:extLst>
              <a:ext uri="{FF2B5EF4-FFF2-40B4-BE49-F238E27FC236}">
                <a16:creationId xmlns:a16="http://schemas.microsoft.com/office/drawing/2014/main" id="{AE31D820-5841-40BF-A076-952CFB261D4D}"/>
              </a:ext>
            </a:extLst>
          </p:cNvPr>
          <p:cNvSpPr/>
          <p:nvPr/>
        </p:nvSpPr>
        <p:spPr>
          <a:xfrm>
            <a:off x="1027416" y="910082"/>
            <a:ext cx="5979559" cy="394736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33E3F196-2C7D-4385-9494-C0B8A9BC66A5}"/>
              </a:ext>
            </a:extLst>
          </p:cNvPr>
          <p:cNvSpPr/>
          <p:nvPr/>
        </p:nvSpPr>
        <p:spPr>
          <a:xfrm>
            <a:off x="7159376" y="2274833"/>
            <a:ext cx="4790068" cy="2737244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9" name="Přímá spojnice se šipkou 8">
            <a:extLst>
              <a:ext uri="{FF2B5EF4-FFF2-40B4-BE49-F238E27FC236}">
                <a16:creationId xmlns:a16="http://schemas.microsoft.com/office/drawing/2014/main" id="{A8D98D02-C5EE-4A34-B0D2-2CC7F27E26DB}"/>
              </a:ext>
            </a:extLst>
          </p:cNvPr>
          <p:cNvCxnSpPr>
            <a:cxnSpLocks/>
          </p:cNvCxnSpPr>
          <p:nvPr/>
        </p:nvCxnSpPr>
        <p:spPr>
          <a:xfrm>
            <a:off x="7006975" y="1304818"/>
            <a:ext cx="523386" cy="970015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27441F6D-7E5C-4372-BAE4-BD1118A1C35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59376" y="5940167"/>
            <a:ext cx="4726598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cs-CZ"/>
            </a:defPPr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Vysvětlitelné expozicí před nebo brzy po očkování</a:t>
            </a:r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AF897FA9-1CA0-42EE-ABF2-6614292C076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612663" y="660253"/>
            <a:ext cx="1398041" cy="58477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3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0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1">
            <a:extLst>
              <a:ext uri="{FF2B5EF4-FFF2-40B4-BE49-F238E27FC236}">
                <a16:creationId xmlns:a16="http://schemas.microsoft.com/office/drawing/2014/main" id="{44C53AB3-77B8-486B-A8C2-C8B644FF84B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476750" y="5621695"/>
            <a:ext cx="1162050" cy="472361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ový počet dávek:</a:t>
            </a:r>
            <a:b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 872 282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2B8D4F-B81D-4CBE-957B-629FA95831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172314" y="6257723"/>
            <a:ext cx="384308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Těžký průběh je definován při hospitalizaci pacienta na JIP, nebo jeho úmrtí.</a:t>
            </a:r>
          </a:p>
        </p:txBody>
      </p:sp>
    </p:spTree>
    <p:extLst>
      <p:ext uri="{BB962C8B-B14F-4D97-AF65-F5344CB8AC3E}">
        <p14:creationId xmlns:p14="http://schemas.microsoft.com/office/powerpoint/2010/main" val="42031468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říklad efektu očkování: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319177" y="2740814"/>
            <a:ext cx="11663557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data ukazují, že následné nákazy po vakcinaci jsou u zdravotnických pracovníků více četné než u běžné populace, a to zejména po 1. dávce vakcíny. To lze vysvětlit jejich větší expozicí nákaze při výkonu zaměstnání. I u zdravotnických pracovníků ale pozorujeme velmi významnou redukci počtu nákaz po 2. dávce a pouze ojedinělé případ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těžkým průběhem onemocnění: po 2. dávce vakcíny za celou dobu sledování pouze 16 případů. 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047567" y="214026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97572" y="115440"/>
            <a:ext cx="11249025" cy="20069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avotničtí pracovníci jsou profesní skupinou s nejvyšší proočkovaností. Nadto jde o skupinu velmi reprezentativně sledovanou: z toho důvodu jde o kohortu ideální pro sledování rizika nákaz po vakcinaci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047567" y="6272358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55423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3AB5B8-FE6E-499D-BEF3-8193487516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COVID-19 pozitivita po zahájení vakcinace</a:t>
            </a:r>
          </a:p>
        </p:txBody>
      </p:sp>
      <p:graphicFrame>
        <p:nvGraphicFramePr>
          <p:cNvPr id="4" name="Tabulka 7">
            <a:extLst>
              <a:ext uri="{FF2B5EF4-FFF2-40B4-BE49-F238E27FC236}">
                <a16:creationId xmlns:a16="http://schemas.microsoft.com/office/drawing/2014/main" id="{02109A2E-B41F-4CC1-88C2-A0FB2F29504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576429"/>
              </p:ext>
            </p:extLst>
          </p:nvPr>
        </p:nvGraphicFramePr>
        <p:xfrm>
          <a:off x="381740" y="1694960"/>
          <a:ext cx="11288180" cy="19046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0230">
                  <a:extLst>
                    <a:ext uri="{9D8B030D-6E8A-4147-A177-3AD203B41FA5}">
                      <a16:colId xmlns:a16="http://schemas.microsoft.com/office/drawing/2014/main" val="1375693292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3264774899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4110247196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4230941611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1385290825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1139850004"/>
                    </a:ext>
                  </a:extLst>
                </a:gridCol>
              </a:tblGrid>
              <a:tr h="79378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1" kern="1200" dirty="0">
                          <a:solidFill>
                            <a:schemeClr val="lt1"/>
                          </a:solidFill>
                        </a:rPr>
                        <a:t>Počet očkovaných zdravotnických pracovníků</a:t>
                      </a:r>
                      <a:endParaRPr lang="cs-CZ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</a:rPr>
                        <a:t>Pozitivní</a:t>
                      </a:r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</a:rPr>
                        <a:t>Pozitivní se symptomy</a:t>
                      </a:r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</a:rPr>
                        <a:t>Hospitalizace: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lehký</a:t>
                      </a:r>
                      <a:r>
                        <a:rPr lang="cs-CZ" sz="1800" b="1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průběh</a:t>
                      </a:r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</a:rPr>
                        <a:t>Hospitalizace: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ěžký</a:t>
                      </a:r>
                      <a:r>
                        <a:rPr lang="cs-CZ" sz="1800" b="1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průběh</a:t>
                      </a:r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10664095"/>
                  </a:ext>
                </a:extLst>
              </a:tr>
              <a:tr h="45989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kern="1200" dirty="0">
                          <a:solidFill>
                            <a:schemeClr val="dk1"/>
                          </a:solidFill>
                        </a:rPr>
                        <a:t>S pouze první dávkou*</a:t>
                      </a:r>
                      <a:endParaRPr lang="cs-CZ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79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07 (16.70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0.56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0.42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0.14%)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80783757"/>
                  </a:ext>
                </a:extLst>
              </a:tr>
              <a:tr h="45989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kern="1200" dirty="0">
                          <a:solidFill>
                            <a:schemeClr val="dk1"/>
                          </a:solidFill>
                        </a:rPr>
                        <a:t>S oběma dávkami**</a:t>
                      </a:r>
                      <a:endParaRPr lang="cs-CZ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8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9 (0.50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0.02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0.01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0.01%)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66401268"/>
                  </a:ext>
                </a:extLst>
              </a:tr>
            </a:tbl>
          </a:graphicData>
        </a:graphic>
      </p:graphicFrame>
      <p:graphicFrame>
        <p:nvGraphicFramePr>
          <p:cNvPr id="6" name="Tabulka 7">
            <a:extLst>
              <a:ext uri="{FF2B5EF4-FFF2-40B4-BE49-F238E27FC236}">
                <a16:creationId xmlns:a16="http://schemas.microsoft.com/office/drawing/2014/main" id="{2F62ED75-CBC2-4788-B9D7-699D79250EB1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7738231"/>
              </p:ext>
            </p:extLst>
          </p:nvPr>
        </p:nvGraphicFramePr>
        <p:xfrm>
          <a:off x="381740" y="4117244"/>
          <a:ext cx="11288180" cy="19046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0230">
                  <a:extLst>
                    <a:ext uri="{9D8B030D-6E8A-4147-A177-3AD203B41FA5}">
                      <a16:colId xmlns:a16="http://schemas.microsoft.com/office/drawing/2014/main" val="1375693292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3264774899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4110247196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4230941611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1385290825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1139850004"/>
                    </a:ext>
                  </a:extLst>
                </a:gridCol>
              </a:tblGrid>
              <a:tr h="79378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l-PL" sz="18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o 2. dávce** </a:t>
                      </a:r>
                      <a:endParaRPr lang="cs-CZ" sz="1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1" kern="1200" dirty="0">
                          <a:solidFill>
                            <a:schemeClr val="lt1"/>
                          </a:solidFill>
                        </a:rPr>
                        <a:t>Počet očkovaných zdravotnických pracovníků</a:t>
                      </a:r>
                      <a:endParaRPr lang="cs-CZ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ozitiv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ozitivní se symptom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</a:rPr>
                        <a:t>Hospitalizace: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lehký</a:t>
                      </a:r>
                      <a:r>
                        <a:rPr lang="cs-CZ" sz="1800" b="1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průběh</a:t>
                      </a:r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</a:rPr>
                        <a:t>Hospitalizace: </a:t>
                      </a:r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ěžký</a:t>
                      </a:r>
                      <a:r>
                        <a:rPr lang="cs-CZ" sz="1800" b="1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průběh</a:t>
                      </a:r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10664095"/>
                  </a:ext>
                </a:extLst>
              </a:tr>
              <a:tr h="45989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</a:t>
                      </a:r>
                      <a:r>
                        <a:rPr lang="pl-PL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 14 dnů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824</a:t>
                      </a:r>
                    </a:p>
                  </a:txBody>
                  <a:tcPr marL="6350" marR="6350" marT="6350" marB="0" anchor="ctr">
                    <a:solidFill>
                      <a:srgbClr val="F3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8 (0.18%)</a:t>
                      </a:r>
                    </a:p>
                  </a:txBody>
                  <a:tcPr marL="6350" marR="6350" marT="6350" marB="0" anchor="ctr"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0.01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0.00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0.003%)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80783757"/>
                  </a:ext>
                </a:extLst>
              </a:tr>
              <a:tr h="45989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d </a:t>
                      </a:r>
                      <a:r>
                        <a:rPr lang="pl-PL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4 dnů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1 (0.32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0.01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0.01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0.003%)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66401268"/>
                  </a:ext>
                </a:extLst>
              </a:tr>
            </a:tbl>
          </a:graphicData>
        </a:graphic>
      </p:graphicFrame>
      <p:sp>
        <p:nvSpPr>
          <p:cNvPr id="5" name="TextovéPole 4"/>
          <p:cNvSpPr txBox="1"/>
          <p:nvPr>
            <p:custDataLst>
              <p:tags r:id="rId3"/>
            </p:custDataLst>
          </p:nvPr>
        </p:nvSpPr>
        <p:spPr>
          <a:xfrm>
            <a:off x="364488" y="1277074"/>
            <a:ext cx="83740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ové shrnutí dat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přehled bez ohledu na dobu do nákazy po vakcinaci) </a:t>
            </a:r>
          </a:p>
        </p:txBody>
      </p:sp>
      <p:sp>
        <p:nvSpPr>
          <p:cNvPr id="7" name="Šipka dolů 6"/>
          <p:cNvSpPr/>
          <p:nvPr/>
        </p:nvSpPr>
        <p:spPr>
          <a:xfrm>
            <a:off x="807288" y="3569036"/>
            <a:ext cx="586596" cy="593140"/>
          </a:xfrm>
          <a:prstGeom prst="downArrow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F58963B6-ED37-4790-9435-56D463A3BCF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831340" y="-23368"/>
            <a:ext cx="13980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3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0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DFBDAF91-E5BE-4DDC-ABEB-54ED805D0A46}"/>
              </a:ext>
            </a:extLst>
          </p:cNvPr>
          <p:cNvSpPr txBox="1"/>
          <p:nvPr/>
        </p:nvSpPr>
        <p:spPr>
          <a:xfrm>
            <a:off x="364488" y="666316"/>
            <a:ext cx="3568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avotničtí pracovníci</a:t>
            </a:r>
          </a:p>
        </p:txBody>
      </p:sp>
      <p:sp>
        <p:nvSpPr>
          <p:cNvPr id="10" name="TextovéPole 13">
            <a:extLst>
              <a:ext uri="{FF2B5EF4-FFF2-40B4-BE49-F238E27FC236}">
                <a16:creationId xmlns:a16="http://schemas.microsoft.com/office/drawing/2014/main" id="{CDDEC7A8-79C4-493F-A21F-3DB55EDB4B6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740" y="5969479"/>
            <a:ext cx="112881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Pozitivita byla prokázána po 1. dávce, před podáním druhé dávk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zitivita byla prokázána až po podání 2. dávky vakcíny</a:t>
            </a:r>
          </a:p>
        </p:txBody>
      </p:sp>
      <p:sp>
        <p:nvSpPr>
          <p:cNvPr id="11" name="TextovéPole 10"/>
          <p:cNvSpPr txBox="1"/>
          <p:nvPr/>
        </p:nvSpPr>
        <p:spPr>
          <a:xfrm>
            <a:off x="1595759" y="3648181"/>
            <a:ext cx="78069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sadní pro hodnocení je výskyt nákaz s časovým odstupem po 2. dávce </a:t>
            </a:r>
          </a:p>
        </p:txBody>
      </p:sp>
    </p:spTree>
    <p:extLst>
      <p:ext uri="{BB962C8B-B14F-4D97-AF65-F5344CB8AC3E}">
        <p14:creationId xmlns:p14="http://schemas.microsoft.com/office/powerpoint/2010/main" val="15680320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podle věku – aplikované dávky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211899" y="3171829"/>
            <a:ext cx="49881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aplikovaných dávek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/>
        </p:nvGraphicFramePr>
        <p:xfrm>
          <a:off x="561974" y="759913"/>
          <a:ext cx="11377929" cy="58188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/>
        </p:nvGraphicFramePr>
        <p:xfrm>
          <a:off x="10270837" y="1316917"/>
          <a:ext cx="1721139" cy="4500001"/>
        </p:xfrm>
        <a:graphic>
          <a:graphicData uri="http://schemas.openxmlformats.org/drawingml/2006/table">
            <a:tbl>
              <a:tblPr/>
              <a:tblGrid>
                <a:gridCol w="849812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871327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–79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9 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–69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0 1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–59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3 8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–64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3 0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1415959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–54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1 7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106629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–49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9 2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5853299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–44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1 2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7409393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+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3 3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9445733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30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5 8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1872275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–39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2 4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3620128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–34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9 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2989975"/>
                  </a:ext>
                </a:extLst>
              </a:tr>
            </a:tbl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F2F30761-04A3-420D-862F-AD03D34803D6}"/>
              </a:ext>
            </a:extLst>
          </p:cNvPr>
          <p:cNvSpPr/>
          <p:nvPr/>
        </p:nvSpPr>
        <p:spPr>
          <a:xfrm>
            <a:off x="4010285" y="6574393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 – modul očkování</a:t>
            </a:r>
          </a:p>
        </p:txBody>
      </p:sp>
    </p:spTree>
    <p:extLst>
      <p:ext uri="{BB962C8B-B14F-4D97-AF65-F5344CB8AC3E}">
        <p14:creationId xmlns:p14="http://schemas.microsoft.com/office/powerpoint/2010/main" val="12049790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1800" dirty="0"/>
              <a:t>Prioritní skupiny pro očkování – aplikované dávky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211899" y="3171829"/>
            <a:ext cx="49881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aplikovaných dávek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/>
        </p:nvGraphicFramePr>
        <p:xfrm>
          <a:off x="561974" y="759913"/>
          <a:ext cx="11377929" cy="58188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/>
        </p:nvGraphicFramePr>
        <p:xfrm>
          <a:off x="9566210" y="1200151"/>
          <a:ext cx="2497518" cy="4210049"/>
        </p:xfrm>
        <a:graphic>
          <a:graphicData uri="http://schemas.openxmlformats.org/drawingml/2006/table">
            <a:tbl>
              <a:tblPr/>
              <a:tblGrid>
                <a:gridCol w="1711390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786128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83853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dravotničtí pracovníci / ochrana veřejného zdra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3 6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83853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ronicky nemoc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2 8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83853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acovníci ve školství a akademičtí pracovníc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0 0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  <a:tr h="8559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acovníci a klienti v sociálních službá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1 9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1415959"/>
                  </a:ext>
                </a:extLst>
              </a:tr>
              <a:tr h="83853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acovníci kritické infrastruktury, IZS, obrana, bezpečn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 4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106629"/>
                  </a:ext>
                </a:extLst>
              </a:tr>
            </a:tbl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F2F30761-04A3-420D-862F-AD03D34803D6}"/>
              </a:ext>
            </a:extLst>
          </p:cNvPr>
          <p:cNvSpPr/>
          <p:nvPr/>
        </p:nvSpPr>
        <p:spPr>
          <a:xfrm>
            <a:off x="4010285" y="6574393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 – modul očkování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1176549" y="645254"/>
            <a:ext cx="5667471" cy="7386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o pracovnících ve školství jsou pouze orientační: řada těchto osob se již volně očkuje v rámci otevřených věkových kategorií a není přitom uváděno profesní zařazení </a:t>
            </a:r>
          </a:p>
        </p:txBody>
      </p:sp>
    </p:spTree>
    <p:extLst>
      <p:ext uri="{BB962C8B-B14F-4D97-AF65-F5344CB8AC3E}">
        <p14:creationId xmlns:p14="http://schemas.microsoft.com/office/powerpoint/2010/main" val="8394307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8. 7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25815" y="3702595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808757" y="3533321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7 denní klouzavý průměr</a:t>
            </a:r>
          </a:p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25815" y="3997870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501588" y="4336121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32126939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8. 7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200025" y="1119730"/>
          <a:ext cx="6743700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026513" y="1256231"/>
          <a:ext cx="4848225" cy="5154086"/>
        </p:xfrm>
        <a:graphic>
          <a:graphicData uri="http://schemas.openxmlformats.org/drawingml/2006/table">
            <a:tbl>
              <a:tblPr/>
              <a:tblGrid>
                <a:gridCol w="1485693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8466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73190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v sociálních službách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428129" y="1033888"/>
            <a:ext cx="1118940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lší profesně velmi exponovanou skupinou jsou pracovníci</a:t>
            </a:r>
            <a:r>
              <a:rPr kumimoji="0" lang="cs-CZ" sz="30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bytových sociálních služeb. I v této skupině byla v důsledku prioritní vakcinace dosažena zásadní redukce počtu nových nákaz COVID-19.</a:t>
            </a: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247962" y="3249615"/>
            <a:ext cx="1549733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41039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Sledování nákaz po vakcinaci 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8647492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8. 7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 zařízeních sociálních služeb </a:t>
            </a:r>
            <a:br>
              <a:rPr lang="cs-CZ" dirty="0"/>
            </a:br>
            <a:r>
              <a:rPr lang="cs-CZ" dirty="0"/>
              <a:t>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418743" y="1222049"/>
          <a:ext cx="8511611" cy="5345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9162962" y="1301496"/>
          <a:ext cx="2326326" cy="4971720"/>
        </p:xfrm>
        <a:graphic>
          <a:graphicData uri="http://schemas.openxmlformats.org/drawingml/2006/table">
            <a:tbl>
              <a:tblPr/>
              <a:tblGrid>
                <a:gridCol w="1485693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1534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7" name="TextovéPole 8">
            <a:extLst>
              <a:ext uri="{FF2B5EF4-FFF2-40B4-BE49-F238E27FC236}">
                <a16:creationId xmlns:a16="http://schemas.microsoft.com/office/drawing/2014/main" id="{FDEE6DA7-8A32-4466-8C48-3BA05FF3131A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</p:spTree>
    <p:extLst>
      <p:ext uri="{BB962C8B-B14F-4D97-AF65-F5344CB8AC3E}">
        <p14:creationId xmlns:p14="http://schemas.microsoft.com/office/powerpoint/2010/main" val="1879482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nově COVID-19 pozitivních pracovníků </a:t>
            </a:r>
            <a:br>
              <a:rPr lang="cs-CZ" dirty="0"/>
            </a:br>
            <a:r>
              <a:rPr lang="cs-CZ" dirty="0"/>
              <a:t>v zařízeních sociálních služeb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/>
        </p:nvGraphicFramePr>
        <p:xfrm>
          <a:off x="407350" y="1059679"/>
          <a:ext cx="8523006" cy="548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941446" y="3165866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270C58A-BB49-4257-8406-1CEB47E406EE}"/>
              </a:ext>
            </a:extLst>
          </p:cNvPr>
          <p:cNvGraphicFramePr>
            <a:graphicFrameLocks noGrp="1"/>
          </p:cNvGraphicFramePr>
          <p:nvPr/>
        </p:nvGraphicFramePr>
        <p:xfrm>
          <a:off x="9060412" y="1207371"/>
          <a:ext cx="2763052" cy="5050096"/>
        </p:xfrm>
        <a:graphic>
          <a:graphicData uri="http://schemas.openxmlformats.org/drawingml/2006/table">
            <a:tbl>
              <a:tblPr/>
              <a:tblGrid>
                <a:gridCol w="1675629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08742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203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 posledních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enní klouzavý 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011470"/>
                  </a:ext>
                </a:extLst>
              </a:tr>
            </a:tbl>
          </a:graphicData>
        </a:graphic>
      </p:graphicFrame>
      <p:sp>
        <p:nvSpPr>
          <p:cNvPr id="9" name="Obdélník 4">
            <a:extLst>
              <a:ext uri="{FF2B5EF4-FFF2-40B4-BE49-F238E27FC236}">
                <a16:creationId xmlns:a16="http://schemas.microsoft.com/office/drawing/2014/main" id="{81867BFA-1453-40BE-A29B-836824A9B5EE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ých COVID-19 pozitivních (incidence)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8. 7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4">
            <a:extLst>
              <a:ext uri="{FF2B5EF4-FFF2-40B4-BE49-F238E27FC236}">
                <a16:creationId xmlns:a16="http://schemas.microsoft.com/office/drawing/2014/main" id="{FC15B3FD-8931-45F3-B9FA-489831BF4CD0}"/>
              </a:ext>
            </a:extLst>
          </p:cNvPr>
          <p:cNvCxnSpPr/>
          <p:nvPr/>
        </p:nvCxnSpPr>
        <p:spPr>
          <a:xfrm>
            <a:off x="5895419" y="1393737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98F82CC0-F179-44D1-AED9-4C8CAA8FCD8F}"/>
              </a:ext>
            </a:extLst>
          </p:cNvPr>
          <p:cNvSpPr txBox="1"/>
          <p:nvPr/>
        </p:nvSpPr>
        <p:spPr>
          <a:xfrm>
            <a:off x="6257677" y="1224463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2188876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109" y="3976882"/>
            <a:ext cx="11623781" cy="1583741"/>
          </a:xfrm>
        </p:spPr>
        <p:txBody>
          <a:bodyPr>
            <a:normAutofit lnSpcReduction="10000"/>
          </a:bodyPr>
          <a:lstStyle/>
          <a:p>
            <a:r>
              <a:rPr lang="cs-CZ" sz="5200" b="1" dirty="0"/>
              <a:t>Zásadní pokles zátěže nemocnic</a:t>
            </a:r>
          </a:p>
          <a:p>
            <a:r>
              <a:rPr lang="cs-CZ" sz="5200" b="1" dirty="0"/>
              <a:t>je důsledkem postupujícího očkování </a:t>
            </a:r>
          </a:p>
        </p:txBody>
      </p:sp>
    </p:spTree>
    <p:extLst>
      <p:ext uri="{BB962C8B-B14F-4D97-AF65-F5344CB8AC3E}">
        <p14:creationId xmlns:p14="http://schemas.microsoft.com/office/powerpoint/2010/main" val="21057337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833A5CE7-EFE4-4FF9-8B90-B0FD849FE351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3087161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713183" y="2408993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B3CB062D-720E-4D82-8709-CD2DC8EFD10F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72879817"/>
              </p:ext>
            </p:extLst>
          </p:nvPr>
        </p:nvGraphicFramePr>
        <p:xfrm>
          <a:off x="4539343" y="1702803"/>
          <a:ext cx="6646969" cy="22136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9983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306986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32105" y="33126"/>
            <a:ext cx="113442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nově diagnostikovaných potenciálně zranitelných pacient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COVID-19 významně klesá. Jde o efekt postupující vakcinace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nto trend se pozitivně promítá do klesající zátěže nemocnic.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Šipka doprava 1">
            <a:extLst>
              <a:ext uri="{FF2B5EF4-FFF2-40B4-BE49-F238E27FC236}">
                <a16:creationId xmlns:a16="http://schemas.microsoft.com/office/drawing/2014/main" id="{B1D27FC9-EC46-49D1-BC34-CC1C1B54C31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12032">
            <a:off x="11028433" y="5546619"/>
            <a:ext cx="734443" cy="2028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43408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9AF1149A-F1B9-4CB9-B9E4-22E79827FFC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128375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757E2A2A-AB0C-4E9F-9905-4436AE58ACB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938898" y="2550992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ce seniorů 75+ let</a:t>
            </a:r>
          </a:p>
        </p:txBody>
      </p:sp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C232ED1B-4826-4970-8717-0D98788AF0AF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89698876"/>
              </p:ext>
            </p:extLst>
          </p:nvPr>
        </p:nvGraphicFramePr>
        <p:xfrm>
          <a:off x="4604657" y="1876539"/>
          <a:ext cx="6581655" cy="22136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338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284317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7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0F2B6EF9-D569-4BAE-B545-E34BCC4C245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32105" y="33126"/>
            <a:ext cx="113442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nově diagnostikovaných potenciálně zranitelných pacient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COVID-19 významně klesá. Jde o efekt postupující vakcinace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nto trend se pozitivně promítá do klesající zátěže nemocnic.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Šipka doprava 1">
            <a:extLst>
              <a:ext uri="{FF2B5EF4-FFF2-40B4-BE49-F238E27FC236}">
                <a16:creationId xmlns:a16="http://schemas.microsoft.com/office/drawing/2014/main" id="{DB69093E-D357-4867-8160-EB2CA3C5A16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14450">
            <a:off x="10978120" y="5420916"/>
            <a:ext cx="664908" cy="2028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780590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33">
            <a:extLst>
              <a:ext uri="{FF2B5EF4-FFF2-40B4-BE49-F238E27FC236}">
                <a16:creationId xmlns:a16="http://schemas.microsoft.com/office/drawing/2014/main" id="{4C5A20A0-A260-40EF-BD1E-C982250FE1F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2520742"/>
              </p:ext>
            </p:extLst>
          </p:nvPr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</a:t>
            </a: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ých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cientů klesají</a:t>
            </a:r>
            <a:b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roste i dostupná kapacita lůžek, včetně JIP</a:t>
            </a:r>
            <a:endParaRPr kumimoji="0" lang="cs-CZ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Šipka doprava 7">
            <a:extLst>
              <a:ext uri="{FF2B5EF4-FFF2-40B4-BE49-F238E27FC236}">
                <a16:creationId xmlns:a16="http://schemas.microsoft.com/office/drawing/2014/main" id="{A73723C6-25FD-4433-AFB1-043FE8AB577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5400000">
            <a:off x="10019398" y="594388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26779AC8-5DFA-4636-8E54-5D5708628E65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380978497"/>
              </p:ext>
            </p:extLst>
          </p:nvPr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.7.2021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  <p:sp>
        <p:nvSpPr>
          <p:cNvPr id="10" name="Šipka doprava 6">
            <a:extLst>
              <a:ext uri="{FF2B5EF4-FFF2-40B4-BE49-F238E27FC236}">
                <a16:creationId xmlns:a16="http://schemas.microsoft.com/office/drawing/2014/main" id="{2921A4FD-8475-4DAE-BED7-73C17A115A3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 rot="5400000">
            <a:off x="10010559" y="5080158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88071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Skupina 24">
            <a:extLst>
              <a:ext uri="{FF2B5EF4-FFF2-40B4-BE49-F238E27FC236}">
                <a16:creationId xmlns:a16="http://schemas.microsoft.com/office/drawing/2014/main" id="{F1E29AA3-5156-427F-B2C1-D2E12C92F6C2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10188179" y="5383605"/>
            <a:ext cx="1900937" cy="954107"/>
            <a:chOff x="10258697" y="3526984"/>
            <a:chExt cx="1900937" cy="954107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D12AFE89-D298-4590-BA62-418EF54DFC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6DFDDB18-B447-4EBF-9692-3FE08A7B92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FEAB3C5E-988C-4976-BDE0-94F78D098E4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TextovéPole 28">
              <a:extLst>
                <a:ext uri="{FF2B5EF4-FFF2-40B4-BE49-F238E27FC236}">
                  <a16:creationId xmlns:a16="http://schemas.microsoft.com/office/drawing/2014/main" id="{17FCD1B8-AF59-4256-8A7E-355DD95C89A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0</a:t>
              </a:r>
              <a:endParaRPr kumimoji="0" lang="cs-CZ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617971" y="3859132"/>
            <a:ext cx="3811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</a:t>
            </a:r>
            <a:r>
              <a:rPr lang="cs-CZ" b="1" dirty="0">
                <a:solidFill>
                  <a:prstClr val="black"/>
                </a:solidFill>
                <a:latin typeface="Calibri" panose="020F0502020204030204"/>
              </a:rPr>
              <a:t>vs. reálný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Table 1">
            <a:extLst>
              <a:ext uri="{FF2B5EF4-FFF2-40B4-BE49-F238E27FC236}">
                <a16:creationId xmlns:a16="http://schemas.microsoft.com/office/drawing/2014/main" id="{3A971252-6362-4123-A768-72D80CB7105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95533862"/>
              </p:ext>
            </p:extLst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6.–12. 6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6.–19. 6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. 6.–26. 6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 6.–3. 7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7.–13. 7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7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0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5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2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TextBox 9">
            <a:extLst>
              <a:ext uri="{FF2B5EF4-FFF2-40B4-BE49-F238E27FC236}">
                <a16:creationId xmlns:a16="http://schemas.microsoft.com/office/drawing/2014/main" id="{A7EDDDB3-60FE-4BF3-AD6E-EC4DF377ACB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177146" y="4912782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  <p:sp>
        <p:nvSpPr>
          <p:cNvPr id="16" name="TextovéPole 16">
            <a:extLst>
              <a:ext uri="{FF2B5EF4-FFF2-40B4-BE49-F238E27FC236}">
                <a16:creationId xmlns:a16="http://schemas.microsoft.com/office/drawing/2014/main" id="{7BCF9CF2-B7C2-4DCF-B56A-EBFD50935496}"/>
              </a:ext>
            </a:extLst>
          </p:cNvPr>
          <p:cNvSpPr txBox="1"/>
          <p:nvPr/>
        </p:nvSpPr>
        <p:spPr>
          <a:xfrm>
            <a:off x="6737481" y="3025493"/>
            <a:ext cx="486109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vé modely jsou zpracovány pro více možných scénářů vývoje, včetně rizikového trendu růstu epidemie v populaci při R &gt; 1,1. Reálný vývoj ale ukazuje na stabilitu stávající situace danou očkováním, zejména ochranou seniorních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zranitelných skupin obyvatel.  </a:t>
            </a:r>
          </a:p>
        </p:txBody>
      </p:sp>
      <p:graphicFrame>
        <p:nvGraphicFramePr>
          <p:cNvPr id="18" name="Chart 11">
            <a:extLst>
              <a:ext uri="{FF2B5EF4-FFF2-40B4-BE49-F238E27FC236}">
                <a16:creationId xmlns:a16="http://schemas.microsoft.com/office/drawing/2014/main" id="{2D0197E1-2B3B-455B-9C2C-E79A055F98F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6338689"/>
              </p:ext>
            </p:extLst>
          </p:nvPr>
        </p:nvGraphicFramePr>
        <p:xfrm>
          <a:off x="432696" y="1856481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Šipka: dolů 1">
            <a:extLst>
              <a:ext uri="{FF2B5EF4-FFF2-40B4-BE49-F238E27FC236}">
                <a16:creationId xmlns:a16="http://schemas.microsoft.com/office/drawing/2014/main" id="{C7408B14-DAC0-4510-A723-0A69B861F107}"/>
              </a:ext>
            </a:extLst>
          </p:cNvPr>
          <p:cNvSpPr/>
          <p:nvPr/>
        </p:nvSpPr>
        <p:spPr>
          <a:xfrm>
            <a:off x="9030280" y="4322653"/>
            <a:ext cx="723900" cy="46251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860660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Skupina 25">
            <a:extLst>
              <a:ext uri="{FF2B5EF4-FFF2-40B4-BE49-F238E27FC236}">
                <a16:creationId xmlns:a16="http://schemas.microsoft.com/office/drawing/2014/main" id="{8C2D4D41-0A31-40B4-B634-F96D58FDA3D0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10231051" y="5618949"/>
            <a:ext cx="1900937" cy="954107"/>
            <a:chOff x="10258697" y="3526984"/>
            <a:chExt cx="1900937" cy="954107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4030909B-B37D-4EEB-8455-E69A028473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878E8D6-CE74-4CE0-BD80-95C939A90F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986F9815-15AC-470D-A846-DC4140958B9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TextovéPole 28">
              <a:extLst>
                <a:ext uri="{FF2B5EF4-FFF2-40B4-BE49-F238E27FC236}">
                  <a16:creationId xmlns:a16="http://schemas.microsoft.com/office/drawing/2014/main" id="{1F7DF2DE-CB74-47C8-A38A-905DE08F66C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0</a:t>
              </a:r>
              <a:endParaRPr kumimoji="0" lang="cs-CZ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489174" y="3867155"/>
            <a:ext cx="378853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vs. reálný počet pacientů</a:t>
            </a:r>
            <a:b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Table 42">
            <a:extLst>
              <a:ext uri="{FF2B5EF4-FFF2-40B4-BE49-F238E27FC236}">
                <a16:creationId xmlns:a16="http://schemas.microsoft.com/office/drawing/2014/main" id="{2AF619FF-AD01-4F39-97F4-64CFF121F62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43522935"/>
              </p:ext>
            </p:extLst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6.–12. 6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6.–19. 6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. 6.–26. 6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 6.–3. 7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7.–13. 7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8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8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1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8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81B9859D-FCC7-4B87-A5A4-E0A0318FD9E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123217" y="5062295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  <p:sp>
        <p:nvSpPr>
          <p:cNvPr id="19" name="Šipka dolů 18"/>
          <p:cNvSpPr/>
          <p:nvPr/>
        </p:nvSpPr>
        <p:spPr>
          <a:xfrm>
            <a:off x="9219409" y="4340243"/>
            <a:ext cx="738002" cy="44991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87F5AAA8-712A-49D7-BFD7-DC3CDEE77C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5009458"/>
              </p:ext>
            </p:extLst>
          </p:nvPr>
        </p:nvGraphicFramePr>
        <p:xfrm>
          <a:off x="557349" y="1856481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1" name="TextovéPole 16">
            <a:extLst>
              <a:ext uri="{FF2B5EF4-FFF2-40B4-BE49-F238E27FC236}">
                <a16:creationId xmlns:a16="http://schemas.microsoft.com/office/drawing/2014/main" id="{ECC076DC-E96F-43FB-B157-F513FF4A8355}"/>
              </a:ext>
            </a:extLst>
          </p:cNvPr>
          <p:cNvSpPr txBox="1"/>
          <p:nvPr/>
        </p:nvSpPr>
        <p:spPr>
          <a:xfrm>
            <a:off x="7060865" y="2971759"/>
            <a:ext cx="486109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vé modely jsou zpracovány pro více možných scénářů vývoje, včetně rizikového trendu růstu epidemie v populaci při R &gt; 1,1. Reálný vývoj ale ukazuje na stabilitu stávající situace danou očkováním, zejména ochranou seniorních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zranitelných skupin obyvatel.  </a:t>
            </a:r>
          </a:p>
        </p:txBody>
      </p:sp>
    </p:spTree>
    <p:extLst>
      <p:ext uri="{BB962C8B-B14F-4D97-AF65-F5344CB8AC3E}">
        <p14:creationId xmlns:p14="http://schemas.microsoft.com/office/powerpoint/2010/main" val="84214509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>
            <p:custDataLst>
              <p:tags r:id="rId1"/>
            </p:custDataLst>
          </p:nvPr>
        </p:nvSpPr>
        <p:spPr>
          <a:xfrm>
            <a:off x="141403" y="178376"/>
            <a:ext cx="1188491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zátěže</a:t>
            </a:r>
            <a:r>
              <a:rPr kumimoji="0" lang="cs-CZ" sz="32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emocnic je predikován na základě ověřeného modelu, který kalkuluje s různými rychlostmi zpomalování epidem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 a ve scénářích do predikcí promítá i dopad očkování.</a:t>
            </a:r>
            <a:endParaRPr kumimoji="0" lang="cs-CZ" sz="3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4958564" y="1850822"/>
            <a:ext cx="2250589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473064" y="2430553"/>
            <a:ext cx="11221588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ý</a:t>
            </a:r>
            <a:r>
              <a:rPr kumimoji="0" lang="cs-CZ" sz="3200" b="1" i="0" u="none" strike="noStrike" kern="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ývoj zátěže nemocnic ukazuje na velmi rychlý pokles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klesajících počtů hospitalizovaných pacientů se pozitivně promítá postupující očkování zejména u </a:t>
            </a:r>
            <a:r>
              <a:rPr kumimoji="0" lang="cs-CZ" sz="3200" b="1" i="0" u="none" strike="noStrike" kern="0" cap="none" spc="0" normalizeH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iorních</a:t>
            </a:r>
            <a:r>
              <a:rPr kumimoji="0" lang="cs-CZ" sz="3200" b="1" i="0" u="none" strike="noStrike" kern="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potenciálně zranitelných skupin obyvatel. Shoda predikcí nových příjmů do nemocnic (při předpokladu rychlého efektu vakcinace) s realitou je dokladem ochranného efektu očkování zejména pro těžký průběh nemoci vedoucí k nemocniční léčbě. </a:t>
            </a:r>
            <a:endParaRPr kumimoji="0" lang="cs-CZ" sz="3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 dolů 6"/>
          <p:cNvSpPr/>
          <p:nvPr/>
        </p:nvSpPr>
        <p:spPr>
          <a:xfrm>
            <a:off x="4872300" y="6093990"/>
            <a:ext cx="2250589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267964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>
            <p:custDataLst>
              <p:tags r:id="rId1"/>
            </p:custDataLst>
          </p:nvPr>
        </p:nvSpPr>
        <p:spPr>
          <a:xfrm>
            <a:off x="431485" y="150627"/>
            <a:ext cx="1118525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zátěže nemocnic (celkové počty hospitalizací a zátěž intenzivní péče) j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rojekcích dlouhodobých modelů doplněn predikcí mortality související s COVID-19. </a:t>
            </a:r>
          </a:p>
        </p:txBody>
      </p:sp>
      <p:sp>
        <p:nvSpPr>
          <p:cNvPr id="12" name="Šipka dolů 11"/>
          <p:cNvSpPr/>
          <p:nvPr>
            <p:custDataLst>
              <p:tags r:id="rId2"/>
            </p:custDataLst>
          </p:nvPr>
        </p:nvSpPr>
        <p:spPr>
          <a:xfrm>
            <a:off x="5204045" y="1109238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>
            <p:custDataLst>
              <p:tags r:id="rId3"/>
            </p:custDataLst>
          </p:nvPr>
        </p:nvSpPr>
        <p:spPr>
          <a:xfrm>
            <a:off x="1186381" y="1700253"/>
            <a:ext cx="9675466" cy="23160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ční modely byly nově vytvořeny ve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</a:t>
            </a:r>
            <a:r>
              <a:rPr kumimoji="0" lang="cs-CZ" sz="24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řech</a:t>
            </a: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ariantách: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. Pokračující brždění epidemie, bez projevu rozvolnění, zahrnutí rychlého vlivu očkování (rychlý scénář, imunita od první dávky)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I. Potenciální rizikový dopad zavlečení emergentní únikové mutace, pomalý efekt očkování.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II. Potenciální rizikový dopad zavlečení emergentní únikové mutace ve spojení s vyšší základní reprodukcí, velmi pomalý efekt očkování.</a:t>
            </a:r>
          </a:p>
        </p:txBody>
      </p:sp>
      <p:sp>
        <p:nvSpPr>
          <p:cNvPr id="5" name="Obdélník 4"/>
          <p:cNvSpPr/>
          <p:nvPr>
            <p:custDataLst>
              <p:tags r:id="rId4"/>
            </p:custDataLst>
          </p:nvPr>
        </p:nvSpPr>
        <p:spPr>
          <a:xfrm>
            <a:off x="275968" y="4188251"/>
            <a:ext cx="1164006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potvrzuje optimistické scénáře, které předpokládají brždění epidemie posílené o rychlý efekt postupující vakcinace. Rostoucí počet nových nákaz v populaci z počátku července však naznačuje zhoršování situace, jistě v důsledku šíření nové varianty viru. Proto jsou v modelech zpracovány i rizikové scénáře vývoje.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204045" y="6251649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73640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77752" y="2783944"/>
            <a:ext cx="11895712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data ukazují, že vakcinace velmi účinně chrání před následnými nákazami a zejména před těžkým průběhem onemocnění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platí zejména po aplikaci 2. dávky očkování: u 3 868 25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bylo dosud zachyceno 4 030 nákaz, což je pouze 0,10%. V odstupu 14 dní po aplikaci druhé dávky byla nákaza prokázána pouze u 0,06% očkovaných oběma dávkami. Těžký průběh onemocnění byl 14 dní po 2. dávce vakcín zachycen pouze u cca 0,01% očkovaných. 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4965138" y="2327447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29332" y="115440"/>
            <a:ext cx="11249025" cy="26253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ntrální informační systém sleduje všechny nákazy COVID-19 po aplikaci očkování. Tato prezentace shrnuje dostupná data, která je nutno vnímat jako průběžná a popisná – s postupujícím časem se zvyšuje počet očkovaných a také narůstá doba sledování potřebná pro záchyt následných nákaz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4977989" y="6246595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547839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6" name="Šipka doprava 5"/>
          <p:cNvSpPr/>
          <p:nvPr/>
        </p:nvSpPr>
        <p:spPr>
          <a:xfrm>
            <a:off x="8025277" y="5182973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4">
            <a:extLst>
              <a:ext uri="{FF2B5EF4-FFF2-40B4-BE49-F238E27FC236}">
                <a16:creationId xmlns:a16="http://schemas.microsoft.com/office/drawing/2014/main" id="{29B34A33-AB25-4904-8BC0-B79B9244584B}"/>
              </a:ext>
            </a:extLst>
          </p:cNvPr>
          <p:cNvSpPr/>
          <p:nvPr/>
        </p:nvSpPr>
        <p:spPr>
          <a:xfrm>
            <a:off x="6196840" y="782308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64BFA9F8-BA3A-42E0-ADE1-30C0060551D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736961" y="1728329"/>
            <a:ext cx="5302638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Potenciální rizikový dopad zavlečení emergentní únikové mutace, pomalý efekt očkování.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336F2CB6-FFDE-405A-A1C8-27F61179018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736960" y="2307399"/>
            <a:ext cx="5302638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ždění epidemie, bez projevu rozvolnění, zahrnut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ychl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ého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livu očkování.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9" name="TextovéPole 29">
            <a:extLst>
              <a:ext uri="{FF2B5EF4-FFF2-40B4-BE49-F238E27FC236}">
                <a16:creationId xmlns:a16="http://schemas.microsoft.com/office/drawing/2014/main" id="{51D1238E-A3E4-437C-B7CE-A3BDB3E6D79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736962" y="1149258"/>
            <a:ext cx="5302638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I. Potenciální rizikový dopad zavlečení emergentní únikové mutace ve spojení s vyšší základní reprodukcí, velmi pomalý efekt očkování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0" name="TextovéPole 24">
            <a:extLst>
              <a:ext uri="{FF2B5EF4-FFF2-40B4-BE49-F238E27FC236}">
                <a16:creationId xmlns:a16="http://schemas.microsoft.com/office/drawing/2014/main" id="{98FB145C-1D57-4144-8FAE-553F3CB2C5B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025277" y="3123195"/>
            <a:ext cx="391054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, což ale neplatí pro rizikové scénáře II a zejména III. </a:t>
            </a:r>
          </a:p>
        </p:txBody>
      </p:sp>
      <p:sp>
        <p:nvSpPr>
          <p:cNvPr id="31" name="Rectangle 28">
            <a:extLst>
              <a:ext uri="{FF2B5EF4-FFF2-40B4-BE49-F238E27FC236}">
                <a16:creationId xmlns:a16="http://schemas.microsoft.com/office/drawing/2014/main" id="{FE8D8D20-CDF2-4C4F-81A5-6BF9C2ED707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393759" y="4693079"/>
            <a:ext cx="378505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potvrzuje optimistické scénáře, které předpokládají brždění epidemie posílené o rychlý efekt postupující vakcinace. Rostoucí počet nových nákaz v populaci z počátku července však naznačuje zhoršování situace, jistě v důsledku šíření nové varianty viru. Proto jsou v modelech zpracovány i rizikové scénáře vývoje.</a:t>
            </a:r>
          </a:p>
        </p:txBody>
      </p:sp>
      <p:cxnSp>
        <p:nvCxnSpPr>
          <p:cNvPr id="32" name="Přímá spojnice 32">
            <a:extLst>
              <a:ext uri="{FF2B5EF4-FFF2-40B4-BE49-F238E27FC236}">
                <a16:creationId xmlns:a16="http://schemas.microsoft.com/office/drawing/2014/main" id="{29004EBE-5E6C-4FE3-8B02-B4A757AE3137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116246" y="1979897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Přímá spojnice 33">
            <a:extLst>
              <a:ext uri="{FF2B5EF4-FFF2-40B4-BE49-F238E27FC236}">
                <a16:creationId xmlns:a16="http://schemas.microsoft.com/office/drawing/2014/main" id="{65E1467E-B736-4D18-906E-62D01223B69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6116246" y="2568951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Přímá spojnice 20">
            <a:extLst>
              <a:ext uri="{FF2B5EF4-FFF2-40B4-BE49-F238E27FC236}">
                <a16:creationId xmlns:a16="http://schemas.microsoft.com/office/drawing/2014/main" id="{00180C10-71A2-4926-9799-18DF57FE8063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6116246" y="139084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71843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6" name="Šipka doprava 5">
            <a:extLst>
              <a:ext uri="{FF2B5EF4-FFF2-40B4-BE49-F238E27FC236}">
                <a16:creationId xmlns:a16="http://schemas.microsoft.com/office/drawing/2014/main" id="{BE8546B1-1A8C-43CB-862F-28081794A8C7}"/>
              </a:ext>
            </a:extLst>
          </p:cNvPr>
          <p:cNvSpPr/>
          <p:nvPr/>
        </p:nvSpPr>
        <p:spPr>
          <a:xfrm>
            <a:off x="8025277" y="5182973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DDEC1CF9-5A28-4EED-9274-4623EC3C0C47}"/>
              </a:ext>
            </a:extLst>
          </p:cNvPr>
          <p:cNvSpPr/>
          <p:nvPr/>
        </p:nvSpPr>
        <p:spPr>
          <a:xfrm>
            <a:off x="6196840" y="782308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20" name="TextovéPole 29">
            <a:extLst>
              <a:ext uri="{FF2B5EF4-FFF2-40B4-BE49-F238E27FC236}">
                <a16:creationId xmlns:a16="http://schemas.microsoft.com/office/drawing/2014/main" id="{BDC7543D-34A1-4AEA-A311-4CBB330FF28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36961" y="1728329"/>
            <a:ext cx="5302638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Potenciální rizikový dopad zavlečení emergentní únikové mutace, pomalý efekt očkování.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1" name="TextovéPole 30">
            <a:extLst>
              <a:ext uri="{FF2B5EF4-FFF2-40B4-BE49-F238E27FC236}">
                <a16:creationId xmlns:a16="http://schemas.microsoft.com/office/drawing/2014/main" id="{840FC20E-2885-483D-8357-F8D18F941DD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736960" y="2307399"/>
            <a:ext cx="5302638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ždění epidemie, bez projevu rozvolnění, zahrnut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ychl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ého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livu očkování.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29">
            <a:extLst>
              <a:ext uri="{FF2B5EF4-FFF2-40B4-BE49-F238E27FC236}">
                <a16:creationId xmlns:a16="http://schemas.microsoft.com/office/drawing/2014/main" id="{EAE599EE-3736-4B58-84C9-C2B8C136B67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736962" y="1149258"/>
            <a:ext cx="5302638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I. Potenciální rizikový dopad zavlečení emergentní únikové mutace ve spojení s vyšší základní reprodukcí, velmi pomalý efekt očkování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3" name="TextovéPole 24">
            <a:extLst>
              <a:ext uri="{FF2B5EF4-FFF2-40B4-BE49-F238E27FC236}">
                <a16:creationId xmlns:a16="http://schemas.microsoft.com/office/drawing/2014/main" id="{50AF2065-61F3-4C90-927A-262577B248C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8986" y="3104445"/>
            <a:ext cx="382683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, což ale neplatí pro rizikové scénáře II a zejména III. </a:t>
            </a:r>
          </a:p>
        </p:txBody>
      </p:sp>
      <p:sp>
        <p:nvSpPr>
          <p:cNvPr id="34" name="Rectangle 28">
            <a:extLst>
              <a:ext uri="{FF2B5EF4-FFF2-40B4-BE49-F238E27FC236}">
                <a16:creationId xmlns:a16="http://schemas.microsoft.com/office/drawing/2014/main" id="{0D875BA1-8C08-483E-8682-E36E0C2FE7B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93759" y="4693079"/>
            <a:ext cx="378505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potvrzuje optimistické scénáře, které předpokládají brždění epidemie posílené o rychlý efekt postupující vakcinace. Rostoucí počet nových nákaz v populaci z počátku července však naznačuje zhoršování situace, jistě v důsledku šíření nové varianty viru. Proto jsou v modelech zpracovány i rizikové scénáře vývoje.</a:t>
            </a:r>
          </a:p>
        </p:txBody>
      </p:sp>
      <p:cxnSp>
        <p:nvCxnSpPr>
          <p:cNvPr id="35" name="Přímá spojnice 32">
            <a:extLst>
              <a:ext uri="{FF2B5EF4-FFF2-40B4-BE49-F238E27FC236}">
                <a16:creationId xmlns:a16="http://schemas.microsoft.com/office/drawing/2014/main" id="{B7490C6C-4223-4FE0-947B-81FDBE7AF886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6116246" y="1979897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33">
            <a:extLst>
              <a:ext uri="{FF2B5EF4-FFF2-40B4-BE49-F238E27FC236}">
                <a16:creationId xmlns:a16="http://schemas.microsoft.com/office/drawing/2014/main" id="{8EFE5E30-9FAE-4121-A34D-BFB5B4AEDB63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6116246" y="2568951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Přímá spojnice 20">
            <a:extLst>
              <a:ext uri="{FF2B5EF4-FFF2-40B4-BE49-F238E27FC236}">
                <a16:creationId xmlns:a16="http://schemas.microsoft.com/office/drawing/2014/main" id="{67060E6A-AA05-4DB9-9996-2337F37057B0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116246" y="139084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5952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nových hospitalizačních</a:t>
            </a:r>
            <a:r>
              <a:rPr lang="cs-CZ" dirty="0">
                <a:latin typeface="+mn-lt"/>
              </a:rPr>
              <a:t> případů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6" name="Šipka doprava 5">
            <a:extLst>
              <a:ext uri="{FF2B5EF4-FFF2-40B4-BE49-F238E27FC236}">
                <a16:creationId xmlns:a16="http://schemas.microsoft.com/office/drawing/2014/main" id="{275D23C4-4989-44E2-88B9-234E4BAF9609}"/>
              </a:ext>
            </a:extLst>
          </p:cNvPr>
          <p:cNvSpPr/>
          <p:nvPr/>
        </p:nvSpPr>
        <p:spPr>
          <a:xfrm>
            <a:off x="8025277" y="5182973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F79E1C56-E52B-4DC5-B7BC-357DF7A0ED3E}"/>
              </a:ext>
            </a:extLst>
          </p:cNvPr>
          <p:cNvSpPr/>
          <p:nvPr/>
        </p:nvSpPr>
        <p:spPr>
          <a:xfrm>
            <a:off x="6196840" y="782308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9" name="TextovéPole 29">
            <a:extLst>
              <a:ext uri="{FF2B5EF4-FFF2-40B4-BE49-F238E27FC236}">
                <a16:creationId xmlns:a16="http://schemas.microsoft.com/office/drawing/2014/main" id="{78C82521-5EA5-4A35-9451-120226A2095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36961" y="1728329"/>
            <a:ext cx="5302638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Potenciální rizikový dopad zavlečení emergentní únikové mutace, pomalý efekt očkování.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" name="TextovéPole 30">
            <a:extLst>
              <a:ext uri="{FF2B5EF4-FFF2-40B4-BE49-F238E27FC236}">
                <a16:creationId xmlns:a16="http://schemas.microsoft.com/office/drawing/2014/main" id="{ACAC3EFD-09FF-4784-BA2B-DBDD66EAF14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736960" y="2307399"/>
            <a:ext cx="5302638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ždění epidemie, bez projevu rozvolnění, zahrnut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ychl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ého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livu očkování.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29">
            <a:extLst>
              <a:ext uri="{FF2B5EF4-FFF2-40B4-BE49-F238E27FC236}">
                <a16:creationId xmlns:a16="http://schemas.microsoft.com/office/drawing/2014/main" id="{D5015280-53F7-482D-A9A4-19B7B001A5D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736962" y="1149258"/>
            <a:ext cx="5302638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I. Potenciální rizikový dopad zavlečení emergentní únikové mutace ve spojení s vyšší základní reprodukcí, velmi pomalý efekt očkování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B3C3DDE8-6E1E-4597-B032-DA6A423922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8986" y="3104445"/>
            <a:ext cx="382683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, což ale neplatí pro rizikové scénáře II a zejména III. </a:t>
            </a:r>
          </a:p>
        </p:txBody>
      </p:sp>
      <p:sp>
        <p:nvSpPr>
          <p:cNvPr id="33" name="Rectangle 28">
            <a:extLst>
              <a:ext uri="{FF2B5EF4-FFF2-40B4-BE49-F238E27FC236}">
                <a16:creationId xmlns:a16="http://schemas.microsoft.com/office/drawing/2014/main" id="{1404746E-BB3E-4893-9C3C-9E7F636B753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93759" y="4693079"/>
            <a:ext cx="378505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potvrzuje optimistické scénáře, které předpokládají brždění epidemie posílené o rychlý efekt postupující vakcinace. Rostoucí počet nových nákaz v populaci z počátku července však naznačuje zhoršování situace, jistě v důsledku šíření nové varianty viru. Proto jsou v modelech zpracovány i rizikové scénáře vývoje.</a:t>
            </a:r>
          </a:p>
        </p:txBody>
      </p:sp>
      <p:cxnSp>
        <p:nvCxnSpPr>
          <p:cNvPr id="34" name="Přímá spojnice 32">
            <a:extLst>
              <a:ext uri="{FF2B5EF4-FFF2-40B4-BE49-F238E27FC236}">
                <a16:creationId xmlns:a16="http://schemas.microsoft.com/office/drawing/2014/main" id="{1DEC34F9-3DFD-4E2C-8BBB-9277CFB1AA79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6116246" y="1979897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Přímá spojnice 33">
            <a:extLst>
              <a:ext uri="{FF2B5EF4-FFF2-40B4-BE49-F238E27FC236}">
                <a16:creationId xmlns:a16="http://schemas.microsoft.com/office/drawing/2014/main" id="{8578E5FB-3E53-4FB4-A221-B094F3A99354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6116246" y="2568951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20">
            <a:extLst>
              <a:ext uri="{FF2B5EF4-FFF2-40B4-BE49-F238E27FC236}">
                <a16:creationId xmlns:a16="http://schemas.microsoft.com/office/drawing/2014/main" id="{8A5557B1-B1DF-4682-B740-9F582A547C62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116246" y="139084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60665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29332" y="772663"/>
            <a:ext cx="11738818" cy="4342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to prezentace shrnuje závěry platné k 13.7. 2021. Jd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 data průběžná, která se budou v čase měnit. Stále je u velkého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nožství očkovaných relativně krátká doba pro sledování vývoj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y. Přesto jsou závěry velmi přesvědčivé a shodné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předchozími průběžnými analýzami. – tedy pravděpodobnost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y po vakcinaci zásadně klesá a zejména klesá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avděpodobnost těžkého průběhu nemoci COVID-19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110709" y="5114924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6516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3AB5B8-FE6E-499D-BEF3-8193487516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COVID-19 pozitivita po zahájení vakcinace</a:t>
            </a:r>
          </a:p>
        </p:txBody>
      </p:sp>
      <p:graphicFrame>
        <p:nvGraphicFramePr>
          <p:cNvPr id="4" name="Tabulka 7">
            <a:extLst>
              <a:ext uri="{FF2B5EF4-FFF2-40B4-BE49-F238E27FC236}">
                <a16:creationId xmlns:a16="http://schemas.microsoft.com/office/drawing/2014/main" id="{02109A2E-B41F-4CC1-88C2-A0FB2F29504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8797823"/>
              </p:ext>
            </p:extLst>
          </p:nvPr>
        </p:nvGraphicFramePr>
        <p:xfrm>
          <a:off x="381740" y="1694960"/>
          <a:ext cx="11288180" cy="17522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0230">
                  <a:extLst>
                    <a:ext uri="{9D8B030D-6E8A-4147-A177-3AD203B41FA5}">
                      <a16:colId xmlns:a16="http://schemas.microsoft.com/office/drawing/2014/main" val="1375693292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3264774899"/>
                    </a:ext>
                  </a:extLst>
                </a:gridCol>
                <a:gridCol w="1684524">
                  <a:extLst>
                    <a:ext uri="{9D8B030D-6E8A-4147-A177-3AD203B41FA5}">
                      <a16:colId xmlns:a16="http://schemas.microsoft.com/office/drawing/2014/main" val="4110247196"/>
                    </a:ext>
                  </a:extLst>
                </a:gridCol>
                <a:gridCol w="1746913">
                  <a:extLst>
                    <a:ext uri="{9D8B030D-6E8A-4147-A177-3AD203B41FA5}">
                      <a16:colId xmlns:a16="http://schemas.microsoft.com/office/drawing/2014/main" val="4230941611"/>
                    </a:ext>
                  </a:extLst>
                </a:gridCol>
                <a:gridCol w="1937333">
                  <a:extLst>
                    <a:ext uri="{9D8B030D-6E8A-4147-A177-3AD203B41FA5}">
                      <a16:colId xmlns:a16="http://schemas.microsoft.com/office/drawing/2014/main" val="1385290825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1139850004"/>
                    </a:ext>
                  </a:extLst>
                </a:gridCol>
              </a:tblGrid>
              <a:tr h="79378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</a:rPr>
                        <a:t>Počet očkovaných osob</a:t>
                      </a:r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</a:rPr>
                        <a:t>Pozitivní</a:t>
                      </a:r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</a:rPr>
                        <a:t>Pozitivní se symptomy</a:t>
                      </a:r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</a:rPr>
                        <a:t>Hospitalizace, lehký průběh </a:t>
                      </a:r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</a:rPr>
                        <a:t>Hospitalizace,  těžký průběh</a:t>
                      </a:r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10664095"/>
                  </a:ext>
                </a:extLst>
              </a:tr>
              <a:tr h="45989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kern="1200" dirty="0">
                          <a:solidFill>
                            <a:schemeClr val="dk1"/>
                          </a:solidFill>
                        </a:rPr>
                        <a:t>S pouze první dávkou*</a:t>
                      </a:r>
                      <a:endParaRPr lang="cs-CZ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 421 99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2 674 (1.59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 394 (0.31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 841 (0.20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 553 (0.11%)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80783757"/>
                  </a:ext>
                </a:extLst>
              </a:tr>
              <a:tr h="45989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kern="1200" dirty="0">
                          <a:solidFill>
                            <a:schemeClr val="dk1"/>
                          </a:solidFill>
                        </a:rPr>
                        <a:t>S oběma dávkami**</a:t>
                      </a:r>
                      <a:endParaRPr lang="cs-CZ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 868 2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 030 (0.10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21 (0.02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45 (0.01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76 (0.01%)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66401268"/>
                  </a:ext>
                </a:extLst>
              </a:tr>
            </a:tbl>
          </a:graphicData>
        </a:graphic>
      </p:graphicFrame>
      <p:graphicFrame>
        <p:nvGraphicFramePr>
          <p:cNvPr id="6" name="Tabulka 7">
            <a:extLst>
              <a:ext uri="{FF2B5EF4-FFF2-40B4-BE49-F238E27FC236}">
                <a16:creationId xmlns:a16="http://schemas.microsoft.com/office/drawing/2014/main" id="{2F62ED75-CBC2-4788-B9D7-699D79250EB1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2528697"/>
              </p:ext>
            </p:extLst>
          </p:nvPr>
        </p:nvGraphicFramePr>
        <p:xfrm>
          <a:off x="381740" y="4117244"/>
          <a:ext cx="11288180" cy="17522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0230">
                  <a:extLst>
                    <a:ext uri="{9D8B030D-6E8A-4147-A177-3AD203B41FA5}">
                      <a16:colId xmlns:a16="http://schemas.microsoft.com/office/drawing/2014/main" val="1375693292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3264774899"/>
                    </a:ext>
                  </a:extLst>
                </a:gridCol>
                <a:gridCol w="1670876">
                  <a:extLst>
                    <a:ext uri="{9D8B030D-6E8A-4147-A177-3AD203B41FA5}">
                      <a16:colId xmlns:a16="http://schemas.microsoft.com/office/drawing/2014/main" val="4110247196"/>
                    </a:ext>
                  </a:extLst>
                </a:gridCol>
                <a:gridCol w="1719618">
                  <a:extLst>
                    <a:ext uri="{9D8B030D-6E8A-4147-A177-3AD203B41FA5}">
                      <a16:colId xmlns:a16="http://schemas.microsoft.com/office/drawing/2014/main" val="4230941611"/>
                    </a:ext>
                  </a:extLst>
                </a:gridCol>
                <a:gridCol w="1978276">
                  <a:extLst>
                    <a:ext uri="{9D8B030D-6E8A-4147-A177-3AD203B41FA5}">
                      <a16:colId xmlns:a16="http://schemas.microsoft.com/office/drawing/2014/main" val="1385290825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1139850004"/>
                    </a:ext>
                  </a:extLst>
                </a:gridCol>
              </a:tblGrid>
              <a:tr h="79378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l-PL" sz="18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o 2. dávce** </a:t>
                      </a:r>
                      <a:endParaRPr lang="cs-CZ" sz="1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</a:rPr>
                        <a:t>Počet očkovaných osob</a:t>
                      </a:r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ozitiv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ozitivní se symptom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</a:rPr>
                        <a:t>Hospitalizace, lehký průběh </a:t>
                      </a:r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</a:rPr>
                        <a:t>Hospitalizace,  těžký průběh</a:t>
                      </a:r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10664095"/>
                  </a:ext>
                </a:extLst>
              </a:tr>
              <a:tr h="45989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</a:t>
                      </a:r>
                      <a:r>
                        <a:rPr lang="pl-PL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 14 dnů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68 252</a:t>
                      </a:r>
                    </a:p>
                  </a:txBody>
                  <a:tcPr marL="6350" marR="6350" marT="6350" marB="0" anchor="ctr">
                    <a:solidFill>
                      <a:srgbClr val="F3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4 (0.05%)</a:t>
                      </a:r>
                    </a:p>
                  </a:txBody>
                  <a:tcPr marL="6350" marR="6350" marT="6350" marB="0" anchor="ctr"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 (0.01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7 (0.01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 (0.00%)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80783757"/>
                  </a:ext>
                </a:extLst>
              </a:tr>
              <a:tr h="45989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d</a:t>
                      </a:r>
                      <a:r>
                        <a:rPr lang="en-US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4 dnů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6 (0.06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9 (0.01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8 (0.01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 (0.00%)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66401268"/>
                  </a:ext>
                </a:extLst>
              </a:tr>
            </a:tbl>
          </a:graphicData>
        </a:graphic>
      </p:graphicFrame>
      <p:sp>
        <p:nvSpPr>
          <p:cNvPr id="5" name="TextovéPole 4"/>
          <p:cNvSpPr txBox="1"/>
          <p:nvPr>
            <p:custDataLst>
              <p:tags r:id="rId3"/>
            </p:custDataLst>
          </p:nvPr>
        </p:nvSpPr>
        <p:spPr>
          <a:xfrm>
            <a:off x="364488" y="1277074"/>
            <a:ext cx="83740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ové shrnutí dat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přehled bez ohledu na dobu do nákazy po vakcinaci) </a:t>
            </a:r>
          </a:p>
        </p:txBody>
      </p:sp>
      <p:sp>
        <p:nvSpPr>
          <p:cNvPr id="7" name="Šipka dolů 6"/>
          <p:cNvSpPr/>
          <p:nvPr/>
        </p:nvSpPr>
        <p:spPr>
          <a:xfrm>
            <a:off x="845388" y="3375011"/>
            <a:ext cx="586596" cy="59314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F58963B6-ED37-4790-9435-56D463A3BCF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831340" y="-23368"/>
            <a:ext cx="13980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3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0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DFBDAF91-E5BE-4DDC-ABEB-54ED805D0A46}"/>
              </a:ext>
            </a:extLst>
          </p:cNvPr>
          <p:cNvSpPr txBox="1"/>
          <p:nvPr/>
        </p:nvSpPr>
        <p:spPr>
          <a:xfrm>
            <a:off x="364488" y="666316"/>
            <a:ext cx="12811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</a:t>
            </a:r>
          </a:p>
        </p:txBody>
      </p:sp>
      <p:sp>
        <p:nvSpPr>
          <p:cNvPr id="10" name="TextovéPole 13">
            <a:extLst>
              <a:ext uri="{FF2B5EF4-FFF2-40B4-BE49-F238E27FC236}">
                <a16:creationId xmlns:a16="http://schemas.microsoft.com/office/drawing/2014/main" id="{CDDEC7A8-79C4-493F-A21F-3DB55EDB4B6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740" y="5969479"/>
            <a:ext cx="112881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Pozitivita byla prokázána po 1. dávce, před podáním druhé dávk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zitivita byla prokázána až po podání 2. dávky vakcíny</a:t>
            </a:r>
          </a:p>
        </p:txBody>
      </p:sp>
      <p:sp>
        <p:nvSpPr>
          <p:cNvPr id="11" name="TextovéPole 10"/>
          <p:cNvSpPr txBox="1"/>
          <p:nvPr/>
        </p:nvSpPr>
        <p:spPr>
          <a:xfrm>
            <a:off x="1431984" y="3596320"/>
            <a:ext cx="78069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sadní pro hodnocení je výskyt nákaz s časovým odstupem po 2. dávce </a:t>
            </a:r>
          </a:p>
        </p:txBody>
      </p:sp>
    </p:spTree>
    <p:extLst>
      <p:ext uri="{BB962C8B-B14F-4D97-AF65-F5344CB8AC3E}">
        <p14:creationId xmlns:p14="http://schemas.microsoft.com/office/powerpoint/2010/main" val="17666121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15938" y="505097"/>
            <a:ext cx="11249025" cy="33963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jednoznačně dokládají, že nákazy po vakcinaci existují a jsou možné – žádná vakcinace nemůže chránit 100% celou populaci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kažených je ale vzhledem k počtu očkovaných velmi málo (zlomky procent až zlomky promile) a pro správnou interpretaci je nadto nutné sledovat i časový odstup nákazy od vakcinace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320145" y="406215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27616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338480" y="3611699"/>
            <a:ext cx="1132648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k ukazuje následující graf, velký podíl nákaz zjištěných po vakcinaci propukl velmi brzy po očkování. Tedy v časovém okně, kdy očkovaný ještě nemohl být chráněn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264595" y="295087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15938" y="115439"/>
            <a:ext cx="11249025" cy="28051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y po vakcinaci je nutné posuzovat dle doby od aplikace dávky očkování. Dojde-li k nákaze před vakcinací nebo krátce     po ní, nemůže očkování ještě dotyčného chránit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yto nákazy je možné od celku oddělit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264594" y="5446814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05911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Graf 14">
            <a:extLst>
              <a:ext uri="{FF2B5EF4-FFF2-40B4-BE49-F238E27FC236}">
                <a16:creationId xmlns:a16="http://schemas.microsoft.com/office/drawing/2014/main" id="{55F89404-7688-4136-A489-68F173C2CF1C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88924" y="1153682"/>
          <a:ext cx="11506986" cy="508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6" name="Tabulka 15">
            <a:extLst>
              <a:ext uri="{FF2B5EF4-FFF2-40B4-BE49-F238E27FC236}">
                <a16:creationId xmlns:a16="http://schemas.microsoft.com/office/drawing/2014/main" id="{D6E1AB3C-125A-4F59-A185-51D93946ECAB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5759865" y="1530440"/>
          <a:ext cx="5441534" cy="3057496"/>
        </p:xfrm>
        <a:graphic>
          <a:graphicData uri="http://schemas.openxmlformats.org/drawingml/2006/table">
            <a:tbl>
              <a:tblPr/>
              <a:tblGrid>
                <a:gridCol w="1392965">
                  <a:extLst>
                    <a:ext uri="{9D8B030D-6E8A-4147-A177-3AD203B41FA5}">
                      <a16:colId xmlns:a16="http://schemas.microsoft.com/office/drawing/2014/main" val="883849921"/>
                    </a:ext>
                  </a:extLst>
                </a:gridCol>
                <a:gridCol w="2106401">
                  <a:extLst>
                    <a:ext uri="{9D8B030D-6E8A-4147-A177-3AD203B41FA5}">
                      <a16:colId xmlns:a16="http://schemas.microsoft.com/office/drawing/2014/main" val="2808698420"/>
                    </a:ext>
                  </a:extLst>
                </a:gridCol>
                <a:gridCol w="1942168">
                  <a:extLst>
                    <a:ext uri="{9D8B030D-6E8A-4147-A177-3AD203B41FA5}">
                      <a16:colId xmlns:a16="http://schemas.microsoft.com/office/drawing/2014/main" val="165716572"/>
                    </a:ext>
                  </a:extLst>
                </a:gridCol>
              </a:tblGrid>
              <a:tr h="794306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zitivita po 1. dávce vakcíny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</a:t>
                      </a:r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zitivita 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 </a:t>
                      </a:r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vce vakcíny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48383"/>
                  </a:ext>
                </a:extLst>
              </a:tr>
              <a:tr h="51476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2 674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.59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 z 1 421 99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03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0,10 % z 3 868 25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806576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2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0202012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án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9479171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 d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n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ů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8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9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5788752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 do 14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n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ů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3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7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8615180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 d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n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ů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2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3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770798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60" y="0"/>
            <a:ext cx="7434501" cy="576000"/>
          </a:xfrm>
        </p:spPr>
        <p:txBody>
          <a:bodyPr/>
          <a:lstStyle/>
          <a:p>
            <a:r>
              <a:rPr lang="cs-CZ" dirty="0"/>
              <a:t>COVID-19 pozitivita po zahájení vakcinace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B3EEB4B0-5A7F-4B46-944B-628C5ED0DEF5}"/>
              </a:ext>
            </a:extLst>
          </p:cNvPr>
          <p:cNvSpPr/>
          <p:nvPr/>
        </p:nvSpPr>
        <p:spPr>
          <a:xfrm>
            <a:off x="1733551" y="6582159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9616A8CA-B1F6-4415-B2C5-3A5AF9993E7E}"/>
              </a:ext>
            </a:extLst>
          </p:cNvPr>
          <p:cNvSpPr/>
          <p:nvPr/>
        </p:nvSpPr>
        <p:spPr>
          <a:xfrm>
            <a:off x="762000" y="748196"/>
            <a:ext cx="104393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ba do pozitivity (všichni pozitivní) po podání vakcíny</a:t>
            </a:r>
          </a:p>
        </p:txBody>
      </p: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B835FDC7-B7B9-40FC-BD64-0CD277E2BFF9}"/>
              </a:ext>
            </a:extLst>
          </p:cNvPr>
          <p:cNvCxnSpPr/>
          <p:nvPr/>
        </p:nvCxnSpPr>
        <p:spPr>
          <a:xfrm>
            <a:off x="9982722" y="2156808"/>
            <a:ext cx="456578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B3D5F012-DB16-4376-943C-BEBE1F6D7ACF}"/>
              </a:ext>
            </a:extLst>
          </p:cNvPr>
          <p:cNvCxnSpPr/>
          <p:nvPr/>
        </p:nvCxnSpPr>
        <p:spPr>
          <a:xfrm>
            <a:off x="8024307" y="2156808"/>
            <a:ext cx="456578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bdélník 21">
            <a:extLst>
              <a:ext uri="{FF2B5EF4-FFF2-40B4-BE49-F238E27FC236}">
                <a16:creationId xmlns:a16="http://schemas.microsoft.com/office/drawing/2014/main" id="{23EA4F6B-7780-4A4B-A21E-71700C75AC85}"/>
              </a:ext>
            </a:extLst>
          </p:cNvPr>
          <p:cNvSpPr/>
          <p:nvPr/>
        </p:nvSpPr>
        <p:spPr>
          <a:xfrm>
            <a:off x="941730" y="6202425"/>
            <a:ext cx="1018071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ny od podání vakcíny do pozitivity na COVID-19</a:t>
            </a:r>
          </a:p>
        </p:txBody>
      </p:sp>
      <p:sp>
        <p:nvSpPr>
          <p:cNvPr id="23" name="Obdélník 22">
            <a:extLst>
              <a:ext uri="{FF2B5EF4-FFF2-40B4-BE49-F238E27FC236}">
                <a16:creationId xmlns:a16="http://schemas.microsoft.com/office/drawing/2014/main" id="{30924626-B064-4BD0-82EE-BBC62255E809}"/>
              </a:ext>
            </a:extLst>
          </p:cNvPr>
          <p:cNvSpPr/>
          <p:nvPr/>
        </p:nvSpPr>
        <p:spPr>
          <a:xfrm rot="16200000">
            <a:off x="-1205379" y="3425843"/>
            <a:ext cx="289969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z očkovaných osob (%)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AF897FA9-1CA0-42EE-ABF2-6614292C076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612663" y="660253"/>
            <a:ext cx="1398041" cy="58477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3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0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52599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Graf 11">
            <a:extLst>
              <a:ext uri="{FF2B5EF4-FFF2-40B4-BE49-F238E27FC236}">
                <a16:creationId xmlns:a16="http://schemas.microsoft.com/office/drawing/2014/main" id="{DF4EC8D6-36BD-4E4E-BC7C-B09317344FBF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88924" y="1153682"/>
          <a:ext cx="11506986" cy="508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2F1209CD-1009-4EFB-B2ED-A5D479EE481F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161770" y="1599510"/>
          <a:ext cx="5441534" cy="2947618"/>
        </p:xfrm>
        <a:graphic>
          <a:graphicData uri="http://schemas.openxmlformats.org/drawingml/2006/table">
            <a:tbl>
              <a:tblPr/>
              <a:tblGrid>
                <a:gridCol w="1392965">
                  <a:extLst>
                    <a:ext uri="{9D8B030D-6E8A-4147-A177-3AD203B41FA5}">
                      <a16:colId xmlns:a16="http://schemas.microsoft.com/office/drawing/2014/main" val="883849921"/>
                    </a:ext>
                  </a:extLst>
                </a:gridCol>
                <a:gridCol w="2106401">
                  <a:extLst>
                    <a:ext uri="{9D8B030D-6E8A-4147-A177-3AD203B41FA5}">
                      <a16:colId xmlns:a16="http://schemas.microsoft.com/office/drawing/2014/main" val="2808698420"/>
                    </a:ext>
                  </a:extLst>
                </a:gridCol>
                <a:gridCol w="1942168">
                  <a:extLst>
                    <a:ext uri="{9D8B030D-6E8A-4147-A177-3AD203B41FA5}">
                      <a16:colId xmlns:a16="http://schemas.microsoft.com/office/drawing/2014/main" val="165716572"/>
                    </a:ext>
                  </a:extLst>
                </a:gridCol>
              </a:tblGrid>
              <a:tr h="68442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zitivita osob pouze s 1. dávkou vakcíny 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</a:t>
                      </a:r>
                      <a:r>
                        <a:rPr lang="cs-CZ" sz="1400" b="1" dirty="0">
                          <a:solidFill>
                            <a:srgbClr val="000000"/>
                          </a:solidFill>
                          <a:latin typeface="+mn-lt"/>
                        </a:rPr>
                        <a:t> těžkým průběhem 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</a:t>
                      </a:r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zitivita 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</a:t>
                      </a:r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dávce vakcíny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 </a:t>
                      </a:r>
                      <a:r>
                        <a:rPr lang="cs-CZ" sz="1400" b="1" dirty="0">
                          <a:solidFill>
                            <a:srgbClr val="000000"/>
                          </a:solidFill>
                          <a:latin typeface="+mn-lt"/>
                        </a:rPr>
                        <a:t>těžkým průběhem </a:t>
                      </a:r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48383"/>
                  </a:ext>
                </a:extLst>
              </a:tr>
              <a:tr h="51476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 553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0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 z 1 421 99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7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0,01 % z 3 868 25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806576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3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0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0202012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án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9479171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 d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n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ů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0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0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8631344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 do 14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n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ů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8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8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8615180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 d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n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ů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5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6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770798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95860" y="0"/>
            <a:ext cx="7434501" cy="576000"/>
          </a:xfrm>
        </p:spPr>
        <p:txBody>
          <a:bodyPr/>
          <a:lstStyle/>
          <a:p>
            <a:r>
              <a:rPr lang="cs-CZ" dirty="0"/>
              <a:t>O</a:t>
            </a:r>
            <a:r>
              <a:rPr lang="cs-CZ" b="1" dirty="0">
                <a:latin typeface="Arial" panose="020B0604020202020204"/>
              </a:rPr>
              <a:t>nemocnění s těžkým průběhem* </a:t>
            </a:r>
            <a:r>
              <a:rPr lang="cs-CZ" dirty="0"/>
              <a:t>po zahájení vakcinace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9616A8CA-B1F6-4415-B2C5-3A5AF9993E7E}"/>
              </a:ext>
            </a:extLst>
          </p:cNvPr>
          <p:cNvSpPr/>
          <p:nvPr/>
        </p:nvSpPr>
        <p:spPr>
          <a:xfrm>
            <a:off x="762000" y="748196"/>
            <a:ext cx="104393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ba do hospitalizace s těžkým průběhem nemoci po podání vakcíny</a:t>
            </a:r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23EA4F6B-7780-4A4B-A21E-71700C75AC85}"/>
              </a:ext>
            </a:extLst>
          </p:cNvPr>
          <p:cNvSpPr/>
          <p:nvPr/>
        </p:nvSpPr>
        <p:spPr>
          <a:xfrm>
            <a:off x="941730" y="6202425"/>
            <a:ext cx="1018071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ny od podání vakcíny do hospitalizace na JIP/úmrtí na COVID-19</a:t>
            </a:r>
          </a:p>
        </p:txBody>
      </p:sp>
      <p:cxnSp>
        <p:nvCxnSpPr>
          <p:cNvPr id="17" name="Přímá spojnice 16">
            <a:extLst>
              <a:ext uri="{FF2B5EF4-FFF2-40B4-BE49-F238E27FC236}">
                <a16:creationId xmlns:a16="http://schemas.microsoft.com/office/drawing/2014/main" id="{076E838E-9A31-4F35-82EE-37EEC3DCB9CC}"/>
              </a:ext>
            </a:extLst>
          </p:cNvPr>
          <p:cNvCxnSpPr/>
          <p:nvPr/>
        </p:nvCxnSpPr>
        <p:spPr>
          <a:xfrm>
            <a:off x="10458292" y="2282869"/>
            <a:ext cx="456578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římá spojnice 17">
            <a:extLst>
              <a:ext uri="{FF2B5EF4-FFF2-40B4-BE49-F238E27FC236}">
                <a16:creationId xmlns:a16="http://schemas.microsoft.com/office/drawing/2014/main" id="{208A5E67-E65A-4865-AA3B-658FEC5EC61E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>
            <a:off x="8499877" y="2282869"/>
            <a:ext cx="456578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bdélník 20">
            <a:extLst>
              <a:ext uri="{FF2B5EF4-FFF2-40B4-BE49-F238E27FC236}">
                <a16:creationId xmlns:a16="http://schemas.microsoft.com/office/drawing/2014/main" id="{0BB0927A-40DA-40B1-9B5B-0D0169425187}"/>
              </a:ext>
            </a:extLst>
          </p:cNvPr>
          <p:cNvSpPr/>
          <p:nvPr/>
        </p:nvSpPr>
        <p:spPr>
          <a:xfrm rot="16200000">
            <a:off x="-1205379" y="3425843"/>
            <a:ext cx="289969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z očkovaných osob (%)</a:t>
            </a:r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AF897FA9-1CA0-42EE-ABF2-6614292C076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612663" y="660253"/>
            <a:ext cx="1398041" cy="58477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3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0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AAA6F7B-3165-41E6-B4A1-1D8CAEDC2B7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0" y="6528291"/>
            <a:ext cx="110024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 Těžký průběh je definován hospitalizací pacienta na JIP</a:t>
            </a:r>
          </a:p>
        </p:txBody>
      </p:sp>
    </p:spTree>
    <p:extLst>
      <p:ext uri="{BB962C8B-B14F-4D97-AF65-F5344CB8AC3E}">
        <p14:creationId xmlns:p14="http://schemas.microsoft.com/office/powerpoint/2010/main" val="29481401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4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366</TotalTime>
  <Words>3487</Words>
  <Application>Microsoft Office PowerPoint</Application>
  <PresentationFormat>Širokoúhlá obrazovka</PresentationFormat>
  <Paragraphs>617</Paragraphs>
  <Slides>32</Slides>
  <Notes>15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6</vt:i4>
      </vt:variant>
      <vt:variant>
        <vt:lpstr>Nadpisy snímků</vt:lpstr>
      </vt:variant>
      <vt:variant>
        <vt:i4>32</vt:i4>
      </vt:variant>
    </vt:vector>
  </HeadingPairs>
  <TitlesOfParts>
    <vt:vector size="41" baseType="lpstr">
      <vt:lpstr>Calibri Light</vt:lpstr>
      <vt:lpstr>Calibri</vt:lpstr>
      <vt:lpstr>Arial</vt:lpstr>
      <vt:lpstr>Motiv Office</vt:lpstr>
      <vt:lpstr>1_Motiv Office</vt:lpstr>
      <vt:lpstr>2_Motiv Office</vt:lpstr>
      <vt:lpstr>3_Motiv Office</vt:lpstr>
      <vt:lpstr>5_Motiv Office</vt:lpstr>
      <vt:lpstr>4_Motiv Office</vt:lpstr>
      <vt:lpstr>Datová a informační základna  pro management pandemie COVID-19</vt:lpstr>
      <vt:lpstr>Datová a informační základna  pro management pandemie COVID-19</vt:lpstr>
      <vt:lpstr>Prezentace aplikace PowerPoint</vt:lpstr>
      <vt:lpstr>Prezentace aplikace PowerPoint</vt:lpstr>
      <vt:lpstr>COVID-19 pozitivita po zahájení vakcinace</vt:lpstr>
      <vt:lpstr>Prezentace aplikace PowerPoint</vt:lpstr>
      <vt:lpstr>Prezentace aplikace PowerPoint</vt:lpstr>
      <vt:lpstr>COVID-19 pozitivita po zahájení vakcinace</vt:lpstr>
      <vt:lpstr>Onemocnění s těžkým průběhem* po zahájení vakcinace</vt:lpstr>
      <vt:lpstr>Prezentace aplikace PowerPoint</vt:lpstr>
      <vt:lpstr>COVID-19 Pozitivita po očkování</vt:lpstr>
      <vt:lpstr>Prezentace aplikace PowerPoint</vt:lpstr>
      <vt:lpstr>Prezentace aplikace PowerPoint</vt:lpstr>
      <vt:lpstr>COVID-19 pozitivita po zahájení vakcinace</vt:lpstr>
      <vt:lpstr>Očkování podle věku – aplikované dávky v čase</vt:lpstr>
      <vt:lpstr>Prioritní skupiny pro očkování – aplikované dávky v čase</vt:lpstr>
      <vt:lpstr>Počty pracovníků ve zdravotnictví s nákazou COVID-19</vt:lpstr>
      <vt:lpstr>Počty pracovníků ve zdravotnictví s nákazou COVID-19</vt:lpstr>
      <vt:lpstr>Očkování v sociálních službách </vt:lpstr>
      <vt:lpstr>Počty pracovníků v zařízeních sociálních služeb  s nákazou COVID-19</vt:lpstr>
      <vt:lpstr>Počty nově COVID-19 pozitivních pracovníků  v zařízeních sociálních služeb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dikovaný počet aktuálně hospitalizovaných</vt:lpstr>
      <vt:lpstr>Predikovaný počet aktuálně hospitalizovaných na JIP</vt:lpstr>
      <vt:lpstr>Predikovaný počet nových hospitalizačních případů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658</cp:revision>
  <dcterms:created xsi:type="dcterms:W3CDTF">2020-11-11T17:36:28Z</dcterms:created>
  <dcterms:modified xsi:type="dcterms:W3CDTF">2021-07-15T08:18:45Z</dcterms:modified>
</cp:coreProperties>
</file>